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8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9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10.xml" ContentType="application/vnd.openxmlformats-officedocument.theme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1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1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1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15.xml" ContentType="application/vnd.openxmlformats-officedocument.theme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16.xml" ContentType="application/vnd.openxmlformats-officedocument.them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17.xml" ContentType="application/vnd.openxmlformats-officedocument.theme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theme/theme18.xml" ContentType="application/vnd.openxmlformats-officedocument.theme+xml"/>
  <Override PartName="/ppt/theme/theme1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27" r:id="rId2"/>
    <p:sldMasterId id="2147483746" r:id="rId3"/>
    <p:sldMasterId id="2147483771" r:id="rId4"/>
    <p:sldMasterId id="2147483798" r:id="rId5"/>
    <p:sldMasterId id="2147483821" r:id="rId6"/>
    <p:sldMasterId id="2147483839" r:id="rId7"/>
    <p:sldMasterId id="2147483852" r:id="rId8"/>
    <p:sldMasterId id="2147483991" r:id="rId9"/>
    <p:sldMasterId id="2147484003" r:id="rId10"/>
    <p:sldMasterId id="2147484017" r:id="rId11"/>
    <p:sldMasterId id="2147484032" r:id="rId12"/>
    <p:sldMasterId id="2147484052" r:id="rId13"/>
    <p:sldMasterId id="2147484074" r:id="rId14"/>
    <p:sldMasterId id="2147484101" r:id="rId15"/>
    <p:sldMasterId id="2147484120" r:id="rId16"/>
    <p:sldMasterId id="2147484139" r:id="rId17"/>
    <p:sldMasterId id="2147484157" r:id="rId18"/>
  </p:sldMasterIdLst>
  <p:notesMasterIdLst>
    <p:notesMasterId r:id="rId20"/>
  </p:notesMasterIdLst>
  <p:sldIdLst>
    <p:sldId id="2145704762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60103"/>
    <a:srgbClr val="000000"/>
    <a:srgbClr val="00905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091"/>
    <p:restoredTop sz="96035"/>
  </p:normalViewPr>
  <p:slideViewPr>
    <p:cSldViewPr snapToGrid="0">
      <p:cViewPr varScale="1">
        <p:scale>
          <a:sx n="60" d="100"/>
          <a:sy n="60" d="100"/>
        </p:scale>
        <p:origin x="1116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94" d="100"/>
        <a:sy n="94" d="100"/>
      </p:scale>
      <p:origin x="0" y="0"/>
    </p:cViewPr>
  </p:sorterViewPr>
  <p:notesViewPr>
    <p:cSldViewPr snapToGrid="0">
      <p:cViewPr>
        <p:scale>
          <a:sx n="152" d="100"/>
          <a:sy n="152" d="100"/>
        </p:scale>
        <p:origin x="2088" y="-7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60211D-E7C7-CA4C-ADAB-26F67981926C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F0333B-E37F-F049-BA97-B2084D0B3C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090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6.jpe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42.emf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8.png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8.png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8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8.png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8.pn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47.png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50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48.pn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48.png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48.png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48.png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48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47.png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emf"/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50.emf"/><Relationship Id="rId4" Type="http://schemas.openxmlformats.org/officeDocument/2006/relationships/oleObject" Target="../embeddings/oleObject2.bin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1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3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4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5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6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7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8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4.xml"/><Relationship Id="rId1" Type="http://schemas.openxmlformats.org/officeDocument/2006/relationships/tags" Target="../tags/tag19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8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8.png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8.png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8.png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8.png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5.xml"/><Relationship Id="rId4" Type="http://schemas.openxmlformats.org/officeDocument/2006/relationships/image" Target="../media/image47.png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Relationship Id="rId6" Type="http://schemas.openxmlformats.org/officeDocument/2006/relationships/image" Target="../media/image53.jp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6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6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6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8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8.png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8.png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8.pn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8.pn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6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6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47.png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6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17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7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7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48.png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48.png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48.pn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48.png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48.png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17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7.xml"/><Relationship Id="rId4" Type="http://schemas.openxmlformats.org/officeDocument/2006/relationships/image" Target="../media/image47.png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1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.xml"/><Relationship Id="rId5" Type="http://schemas.openxmlformats.org/officeDocument/2006/relationships/image" Target="../media/image13.png"/><Relationship Id="rId4" Type="http://schemas.openxmlformats.org/officeDocument/2006/relationships/image" Target="../media/image10.wmf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.xml"/><Relationship Id="rId4" Type="http://schemas.openxmlformats.org/officeDocument/2006/relationships/image" Target="../media/image10.w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3.jpeg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21.png"/><Relationship Id="rId4" Type="http://schemas.openxmlformats.org/officeDocument/2006/relationships/image" Target="../media/image20.sv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pn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1.png"/><Relationship Id="rId5" Type="http://schemas.openxmlformats.org/officeDocument/2006/relationships/image" Target="../media/image20.svg"/><Relationship Id="rId4" Type="http://schemas.openxmlformats.org/officeDocument/2006/relationships/image" Target="../media/image19.png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6.png"/><Relationship Id="rId4" Type="http://schemas.openxmlformats.org/officeDocument/2006/relationships/image" Target="../media/image33.sv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26.png"/><Relationship Id="rId4" Type="http://schemas.openxmlformats.org/officeDocument/2006/relationships/image" Target="../media/image33.svg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4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22450D2-FD2A-4D42-A497-0B4E1CC93F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59" y="0"/>
            <a:ext cx="12191998" cy="353787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1B9DA4FB-D08B-284C-B03B-2D6EEFE2001B}"/>
              </a:ext>
            </a:extLst>
          </p:cNvPr>
          <p:cNvSpPr/>
          <p:nvPr userDrawn="1"/>
        </p:nvSpPr>
        <p:spPr>
          <a:xfrm>
            <a:off x="0" y="0"/>
            <a:ext cx="12202757" cy="3600643"/>
          </a:xfrm>
          <a:prstGeom prst="rect">
            <a:avLst/>
          </a:prstGeom>
          <a:gradFill>
            <a:gsLst>
              <a:gs pos="30000">
                <a:schemeClr val="bg2">
                  <a:alpha val="23000"/>
                </a:schemeClr>
              </a:gs>
              <a:gs pos="68000">
                <a:schemeClr val="bg2">
                  <a:alpha val="77447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person's face&#10;&#10;Description automatically generated with medium confidence">
            <a:extLst>
              <a:ext uri="{FF2B5EF4-FFF2-40B4-BE49-F238E27FC236}">
                <a16:creationId xmlns:a16="http://schemas.microsoft.com/office/drawing/2014/main" id="{5D2BB865-BEC8-8546-94EA-6BE6D999E8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537872"/>
            <a:ext cx="12191999" cy="332012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67560" y="2440658"/>
            <a:ext cx="9435579" cy="2429777"/>
          </a:xfrm>
        </p:spPr>
        <p:txBody>
          <a:bodyPr anchor="b"/>
          <a:lstStyle>
            <a:lvl1pPr algn="l">
              <a:defRPr sz="3600" b="1" spc="5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2B2B1A-532E-A74C-A004-E0588BDBBE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67560" y="5010664"/>
            <a:ext cx="9435580" cy="1238385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200" b="0" spc="50" baseline="0">
                <a:solidFill>
                  <a:srgbClr val="4A4F5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06E01A-7715-0F48-86DA-B6315AFF34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7560" y="5922838"/>
            <a:ext cx="3786046" cy="365125"/>
          </a:xfrm>
          <a:prstGeom prst="rect">
            <a:avLst/>
          </a:prstGeom>
        </p:spPr>
        <p:txBody>
          <a:bodyPr/>
          <a:lstStyle>
            <a:lvl1pPr>
              <a:defRPr sz="1600" b="0" spc="100" baseline="0">
                <a:solidFill>
                  <a:srgbClr val="4A4F55"/>
                </a:solidFill>
              </a:defRPr>
            </a:lvl1pPr>
          </a:lstStyle>
          <a:p>
            <a:endParaRPr lang="en-US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972637C-C755-0145-9BEC-0FC6401F87C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07664" y="293737"/>
            <a:ext cx="3172107" cy="3026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2452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046656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62" name="Rectangle 2">
            <a:extLst>
              <a:ext uri="{FF2B5EF4-FFF2-40B4-BE49-F238E27FC236}">
                <a16:creationId xmlns:a16="http://schemas.microsoft.com/office/drawing/2014/main" id="{BCF66CC2-7706-9303-E7EF-BD950D65FFBD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0"/>
            <a:ext cx="12192000" cy="6781800"/>
          </a:xfrm>
          <a:prstGeom prst="rect">
            <a:avLst/>
          </a:prstGeom>
          <a:solidFill>
            <a:srgbClr val="E5E7E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800"/>
          </a:p>
        </p:txBody>
      </p:sp>
      <p:pic>
        <p:nvPicPr>
          <p:cNvPr id="1423363" name="Picture 3">
            <a:extLst>
              <a:ext uri="{FF2B5EF4-FFF2-40B4-BE49-F238E27FC236}">
                <a16:creationId xmlns:a16="http://schemas.microsoft.com/office/drawing/2014/main" id="{E1ED34B9-9118-1F17-6D91-DD01AA829B7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743701"/>
            <a:ext cx="12192000" cy="119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23364" name="Rectangle 4">
            <a:extLst>
              <a:ext uri="{FF2B5EF4-FFF2-40B4-BE49-F238E27FC236}">
                <a16:creationId xmlns:a16="http://schemas.microsoft.com/office/drawing/2014/main" id="{8AAB0E50-0B96-B234-031C-3F6B027502F4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08000" y="1304926"/>
            <a:ext cx="9753600" cy="1470025"/>
          </a:xfrm>
          <a:extLst>
            <a:ext uri="{909E8E84-426E-40DD-AFC4-6F175D3DCCD1}">
              <a14:hiddenFill xmlns:a14="http://schemas.microsoft.com/office/drawing/2010/main">
                <a:solidFill>
                  <a:srgbClr val="2B2B81"/>
                </a:solidFill>
              </a14:hiddenFill>
            </a:ext>
          </a:extLst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en-US" noProof="0"/>
              <a:t>Titelmasterformat durch Klicken bearbeiten</a:t>
            </a:r>
          </a:p>
        </p:txBody>
      </p:sp>
      <p:sp>
        <p:nvSpPr>
          <p:cNvPr id="1423365" name="Rectangle 5">
            <a:extLst>
              <a:ext uri="{FF2B5EF4-FFF2-40B4-BE49-F238E27FC236}">
                <a16:creationId xmlns:a16="http://schemas.microsoft.com/office/drawing/2014/main" id="{4B5CB603-2E18-2CB2-1185-736FD3C15365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520700" y="4286250"/>
            <a:ext cx="8534400" cy="1752600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rgbClr val="016E79"/>
                </a:solidFill>
              </a:defRPr>
            </a:lvl1pPr>
          </a:lstStyle>
          <a:p>
            <a:pPr lvl="0"/>
            <a:r>
              <a:rPr lang="de-DE" altLang="en-US" noProof="0"/>
              <a:t>Formatvorlage des Untertitelmasters durch Klicken bearbeiten</a:t>
            </a:r>
          </a:p>
        </p:txBody>
      </p:sp>
      <p:pic>
        <p:nvPicPr>
          <p:cNvPr id="1423366" name="Picture 6">
            <a:extLst>
              <a:ext uri="{FF2B5EF4-FFF2-40B4-BE49-F238E27FC236}">
                <a16:creationId xmlns:a16="http://schemas.microsoft.com/office/drawing/2014/main" id="{799B5FC7-640F-0EB9-BBB4-417AF22D8C4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4301" y="1"/>
            <a:ext cx="1919817" cy="145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23367" name="Picture 7">
            <a:extLst>
              <a:ext uri="{FF2B5EF4-FFF2-40B4-BE49-F238E27FC236}">
                <a16:creationId xmlns:a16="http://schemas.microsoft.com/office/drawing/2014/main" id="{53DAE478-E381-A4F3-7954-451EB978977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35801" y="3175000"/>
            <a:ext cx="5162551" cy="511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3903572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BCDECA-A4F7-EFF1-0094-4B18D1EE14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30005-7FDD-3EB1-689F-242DDA8B20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089640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8744FE-44A2-CD86-F89B-E9C659CFE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1EDB48-CF63-E3F9-80A8-20FE851F23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9747479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7AAB45-6DF0-5C1E-DA9C-52AF04CC1B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147FD1-3AFC-02D5-CC90-4523581248D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4800" y="1524000"/>
            <a:ext cx="5689600" cy="4876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22A47CE-AACC-6F8F-1859-9C198070E8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7600" y="1524000"/>
            <a:ext cx="5689600" cy="4876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690912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D2DDB5-C2E5-F17E-C3B3-FD4E212C0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A44900-691E-3BF1-76C6-3F902DEF6D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0D215A4-3273-9393-F7DC-CF02BCB004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893590D-B47A-A8A9-8149-7FF458DF68E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2ED9963-F078-5409-7523-2EB59420EE8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46289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A91F3F-29B5-CB4C-975F-567723A951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258732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373499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2393BF-94E3-60C6-4743-6F1677538A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6035B1-DEF0-9840-D38C-229F24DDB90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082158A-6404-49E7-1EE1-5820B70181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565773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4FBA14-0C63-6FCF-93D8-CA9F32F63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5EFC369-4B75-6B5D-134C-98DF97CAEFB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8010786-5215-43A7-6441-8086A637339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2342664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83FC97-34DC-9E26-46A2-6CCCBCB201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9E16FD1-558B-46AE-8A73-7B7BBE04F0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3985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822056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2654E28-C404-CCE0-31F7-0E95A3E22F2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991600" y="152400"/>
            <a:ext cx="2895600" cy="6248400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4251310-4441-DDBF-3647-26F894E3DEC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304800" y="152400"/>
            <a:ext cx="8483600" cy="6248400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040737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B0F4F8-5C62-0B45-8214-AE3E02FA14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08A453C-A3BA-4E49-A910-9A7708ED2A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2125315-9C54-3644-BEE6-F10EF89C9E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B1F45-526B-1446-B9B0-E25A9E8A68F4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AFD679-8E4F-F94D-B1D0-B4D2E21336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EFE58D-FC42-124C-BA12-7292B6DED5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EF6D8-0092-B04A-BBD9-6B7B06B3D8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330960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A97D28-5349-194C-AABB-1CF6D5E31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573660-A17B-364C-B0B1-969CBC16FF9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44C201-9B18-424C-811D-D9FBF7A606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B1F45-526B-1446-B9B0-E25A9E8A68F4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F2961B-35DF-2047-A565-1B8178AECA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889E85-064B-4A49-8477-46E3856FBC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EF6D8-0092-B04A-BBD9-6B7B06B3D8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030455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30327D-344C-7A4E-A27E-BD118E2111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C2A4EA-C3C9-AE42-B733-5C3BE480D8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AC775B-7A63-0E4D-88E9-E10B33BAB3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B1F45-526B-1446-B9B0-E25A9E8A68F4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22630F-BE75-814C-9893-07894D961C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AAFBF5-0349-5241-B1FC-72408187FD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EF6D8-0092-B04A-BBD9-6B7B06B3D8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033832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09E976-2E9B-564A-B856-2B35604AD3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FB1872-4A81-1A49-994D-25CD14E4C6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769C9C-C4F8-9C43-9A63-8B541FA139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EA8DD0-5022-AA44-92F3-8AC109FCCC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B1F45-526B-1446-B9B0-E25A9E8A68F4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41AC94A-FBCA-6041-BF39-AD4801F5D5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C065C3D-2A19-C849-9674-5E3465A58B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EF6D8-0092-B04A-BBD9-6B7B06B3D8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15502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6B4D8F-9641-8C49-ADF3-DB7141A644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E90833-B904-784D-9783-0FB2385C0A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AAAC5C-9271-BF46-A251-B6CEC3CA1A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2592A9-562A-2148-8752-C8DDB347FA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CD01A6A-6CA2-914F-A0D6-1982C2F2C78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0A1143C-12AC-A449-BF1F-307B9F8BDE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B1F45-526B-1446-B9B0-E25A9E8A68F4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B88CCDA-FF2C-2648-93A5-AAFD650863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4812B61-4B92-E446-AA15-8C0ECE84FC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EF6D8-0092-B04A-BBD9-6B7B06B3D8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11261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D998FD-D595-A74B-9647-E9F5FBFB73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9C86825-C6E9-E645-B46B-1E4EBDB03B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B1F45-526B-1446-B9B0-E25A9E8A68F4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B503DF-33BA-FE4C-BBD1-87171950E8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2CEB73-864F-FC43-A980-D3CA927661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EF6D8-0092-B04A-BBD9-6B7B06B3D8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740068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A5890F-A044-9446-ADD3-70F32E835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B1F45-526B-1446-B9B0-E25A9E8A68F4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099E0C-ED90-B44F-BB28-2A0522762E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C7A6A1-6446-5749-BA57-204F96952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EF6D8-0092-B04A-BBD9-6B7B06B3D8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52481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50EBC7-BD3F-CA43-92E1-D6B520898F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C7AC26-33E0-0749-8CFB-3812EE3F4A6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79FBB15-2D1D-FF4B-A1EA-068462C1CF0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F77E2E4-9DA4-E24D-8713-F3A4E98781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B1F45-526B-1446-B9B0-E25A9E8A68F4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4707AA-B62C-F74B-8E80-8C6459361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637555-BB86-0B44-9864-B9731C29C3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EF6D8-0092-B04A-BBD9-6B7B06B3D8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70949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7C097B-6449-C149-B026-7DBD89CA07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DA3751-3DCF-284B-AFC6-D8709B9368A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0FD979B-7F0C-B348-9C8F-FE3882252DB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2DE943-B05F-A443-AF73-3F0DF055BF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B1F45-526B-1446-B9B0-E25A9E8A68F4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54D289-5643-E649-A7F9-07200477ED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C3C21B-3E1D-184D-A284-D753C8732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EF6D8-0092-B04A-BBD9-6B7B06B3D8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2427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6768" y="1582738"/>
            <a:ext cx="5617633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582738"/>
            <a:ext cx="5617633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5177356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4C6610-C3F5-D245-BE4D-950EEB908A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507DB51-7A33-FD46-8880-1FA2664C28E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4D4F37-7BB6-5143-85C1-6992C804C8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B1F45-526B-1446-B9B0-E25A9E8A68F4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003831-3072-5C4A-A160-CC2040FBF1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888991-60E9-C241-9E44-5591732C5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EF6D8-0092-B04A-BBD9-6B7B06B3D8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754667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A28D9AD-832D-0341-968A-A76B2A90F13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35AE627-ACD8-DC46-BA74-D8B89011BD3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453129-CE0C-FE45-951B-3781A93601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2B1F45-526B-1446-B9B0-E25A9E8A68F4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0200CF-0734-0B43-8867-D14C5E999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180CD6-47DD-0540-A555-0E053610E5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D8EF6D8-0092-B04A-BBD9-6B7B06B3D8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438008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p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3C61BC7-9ECE-2645-A0BA-BDA2FE8543E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402982" y="2049201"/>
            <a:ext cx="7351240" cy="7514388"/>
          </a:xfrm>
          <a:prstGeom prst="rect">
            <a:avLst/>
          </a:prstGeom>
        </p:spPr>
      </p:pic>
      <p:sp>
        <p:nvSpPr>
          <p:cNvPr id="20" name="Freeform 19">
            <a:extLst>
              <a:ext uri="{FF2B5EF4-FFF2-40B4-BE49-F238E27FC236}">
                <a16:creationId xmlns:a16="http://schemas.microsoft.com/office/drawing/2014/main" id="{2055B244-2790-6C44-9858-9C0D6EDD99C1}"/>
              </a:ext>
            </a:extLst>
          </p:cNvPr>
          <p:cNvSpPr/>
          <p:nvPr userDrawn="1"/>
        </p:nvSpPr>
        <p:spPr>
          <a:xfrm>
            <a:off x="7040967" y="0"/>
            <a:ext cx="5151033" cy="1573432"/>
          </a:xfrm>
          <a:custGeom>
            <a:avLst/>
            <a:gdLst>
              <a:gd name="connsiteX0" fmla="*/ 0 w 5151033"/>
              <a:gd name="connsiteY0" fmla="*/ 0 h 1573432"/>
              <a:gd name="connsiteX1" fmla="*/ 5151033 w 5151033"/>
              <a:gd name="connsiteY1" fmla="*/ 0 h 1573432"/>
              <a:gd name="connsiteX2" fmla="*/ 5151033 w 5151033"/>
              <a:gd name="connsiteY2" fmla="*/ 1491386 h 1573432"/>
              <a:gd name="connsiteX3" fmla="*/ 4709836 w 5151033"/>
              <a:gd name="connsiteY3" fmla="*/ 1536540 h 1573432"/>
              <a:gd name="connsiteX4" fmla="*/ 2202786 w 5151033"/>
              <a:gd name="connsiteY4" fmla="*/ 1419399 h 1573432"/>
              <a:gd name="connsiteX5" fmla="*/ 28992 w 5151033"/>
              <a:gd name="connsiteY5" fmla="*/ 32407 h 1573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51033" h="1573432">
                <a:moveTo>
                  <a:pt x="0" y="0"/>
                </a:moveTo>
                <a:lnTo>
                  <a:pt x="5151033" y="0"/>
                </a:lnTo>
                <a:lnTo>
                  <a:pt x="5151033" y="1491386"/>
                </a:lnTo>
                <a:lnTo>
                  <a:pt x="4709836" y="1536540"/>
                </a:lnTo>
                <a:cubicBezTo>
                  <a:pt x="3754278" y="1612497"/>
                  <a:pt x="2898977" y="1570067"/>
                  <a:pt x="2202786" y="1419399"/>
                </a:cubicBezTo>
                <a:cubicBezTo>
                  <a:pt x="1228120" y="1208464"/>
                  <a:pt x="501665" y="545653"/>
                  <a:pt x="28992" y="3240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200A616-67F5-2A4E-BF85-C43DBEC39D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15719" y="2907548"/>
            <a:ext cx="9231858" cy="90992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5000" b="1" cap="all" baseline="0">
                <a:solidFill>
                  <a:srgbClr val="5E6C85"/>
                </a:solidFill>
              </a:defRPr>
            </a:lvl1pPr>
            <a:lvl2pPr marL="457200" indent="0">
              <a:buFontTx/>
              <a:buNone/>
              <a:defRPr sz="4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4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4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cap="all" baseline="0"/>
              <a:t>Title text goes here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72F3638E-B5FD-064A-B0E9-D84C20E27F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15719" y="3691309"/>
            <a:ext cx="6770688" cy="12890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400" spc="50" baseline="0">
                <a:solidFill>
                  <a:srgbClr val="00698C"/>
                </a:solidFill>
              </a:defRPr>
            </a:lvl1pPr>
            <a:lvl2pPr marL="457200" indent="0">
              <a:buFontTx/>
              <a:buNone/>
              <a:defRPr sz="36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36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36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 text inserted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9DD9F65-C511-094D-8442-B2B85D701B59}"/>
              </a:ext>
            </a:extLst>
          </p:cNvPr>
          <p:cNvSpPr/>
          <p:nvPr userDrawn="1"/>
        </p:nvSpPr>
        <p:spPr>
          <a:xfrm>
            <a:off x="0" y="6225236"/>
            <a:ext cx="12192000" cy="632764"/>
          </a:xfrm>
          <a:prstGeom prst="rect">
            <a:avLst/>
          </a:prstGeom>
          <a:solidFill>
            <a:srgbClr val="5096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C6FB363F-3F46-8942-B82B-B2F0B3CDC3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75938" y="376749"/>
            <a:ext cx="2720804" cy="1360402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7CA3B6B2-27C4-164C-B68C-3E28C6FBD450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10940400" y="6391625"/>
            <a:ext cx="1022400" cy="277261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E09AECD-C645-7F47-B42D-7C85AA918FE3}"/>
              </a:ext>
            </a:extLst>
          </p:cNvPr>
          <p:cNvCxnSpPr>
            <a:cxnSpLocks/>
          </p:cNvCxnSpPr>
          <p:nvPr userDrawn="1"/>
        </p:nvCxnSpPr>
        <p:spPr>
          <a:xfrm>
            <a:off x="-6601" y="6225236"/>
            <a:ext cx="12198601" cy="0"/>
          </a:xfrm>
          <a:prstGeom prst="line">
            <a:avLst/>
          </a:prstGeom>
          <a:ln w="25400">
            <a:gradFill>
              <a:gsLst>
                <a:gs pos="23000">
                  <a:srgbClr val="194782"/>
                </a:gs>
                <a:gs pos="99000">
                  <a:srgbClr val="5E6C85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F619E85-45E4-9D4E-A3A4-BB44795694B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698C"/>
              </a:gs>
              <a:gs pos="100000">
                <a:srgbClr val="5096A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C61BC7-9ECE-2645-A0BA-BDA2FE8543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5092700" y="64410"/>
            <a:ext cx="10845973" cy="11086680"/>
          </a:xfrm>
          <a:prstGeom prst="rect">
            <a:avLst/>
          </a:prstGeom>
        </p:spPr>
      </p:pic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200A616-67F5-2A4E-BF85-C43DBEC39D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6771" y="2838602"/>
            <a:ext cx="9231858" cy="90992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200" b="1" cap="all" baseline="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4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4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4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cap="all" baseline="0"/>
              <a:t>Title text goes here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72F3638E-B5FD-064A-B0E9-D84C20E27F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6771" y="3691309"/>
            <a:ext cx="6770688" cy="12890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200" spc="50" baseline="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36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36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36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 text inserted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9DD9F65-C511-094D-8442-B2B85D701B59}"/>
              </a:ext>
            </a:extLst>
          </p:cNvPr>
          <p:cNvSpPr/>
          <p:nvPr userDrawn="1"/>
        </p:nvSpPr>
        <p:spPr>
          <a:xfrm>
            <a:off x="0" y="6225236"/>
            <a:ext cx="12192000" cy="6327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A56319E-B4F6-814B-8E42-BE5D5751AF46}"/>
              </a:ext>
            </a:extLst>
          </p:cNvPr>
          <p:cNvCxnSpPr>
            <a:cxnSpLocks/>
          </p:cNvCxnSpPr>
          <p:nvPr userDrawn="1"/>
        </p:nvCxnSpPr>
        <p:spPr>
          <a:xfrm>
            <a:off x="553252" y="3561229"/>
            <a:ext cx="646898" cy="0"/>
          </a:xfrm>
          <a:prstGeom prst="line">
            <a:avLst/>
          </a:prstGeom>
          <a:ln w="222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65409014-0CA0-6B44-B9C1-A0DB3843CB5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6400" y="401740"/>
            <a:ext cx="2844800" cy="146720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65C3155-8029-EA47-9AB5-F3F45520A350}"/>
              </a:ext>
            </a:extLst>
          </p:cNvPr>
          <p:cNvCxnSpPr>
            <a:cxnSpLocks/>
          </p:cNvCxnSpPr>
          <p:nvPr userDrawn="1"/>
        </p:nvCxnSpPr>
        <p:spPr>
          <a:xfrm>
            <a:off x="-6601" y="6225236"/>
            <a:ext cx="12198601" cy="0"/>
          </a:xfrm>
          <a:prstGeom prst="line">
            <a:avLst/>
          </a:prstGeom>
          <a:ln w="25400">
            <a:gradFill>
              <a:gsLst>
                <a:gs pos="23000">
                  <a:srgbClr val="194782"/>
                </a:gs>
                <a:gs pos="99000">
                  <a:srgbClr val="5E6C85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51BED986-2C81-44CD-ADBF-6A62C40D0AD0}"/>
              </a:ext>
            </a:extLst>
          </p:cNvPr>
          <p:cNvPicPr>
            <a:picLocks noChangeAspect="1"/>
          </p:cNvPicPr>
          <p:nvPr userDrawn="1"/>
        </p:nvPicPr>
        <p:blipFill>
          <a:blip/>
          <a:srcRect/>
          <a:stretch/>
        </p:blipFill>
        <p:spPr>
          <a:xfrm>
            <a:off x="10940400" y="6391625"/>
            <a:ext cx="1022399" cy="27726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F619E85-45E4-9D4E-A3A4-BB44795694B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698C"/>
              </a:gs>
              <a:gs pos="100000">
                <a:srgbClr val="5096A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3C61BC7-9ECE-2645-A0BA-BDA2FE8543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70000"/>
          </a:blip>
          <a:stretch>
            <a:fillRect/>
          </a:stretch>
        </p:blipFill>
        <p:spPr>
          <a:xfrm>
            <a:off x="5092700" y="64410"/>
            <a:ext cx="10845973" cy="11086680"/>
          </a:xfrm>
          <a:prstGeom prst="rect">
            <a:avLst/>
          </a:prstGeom>
        </p:spPr>
      </p:pic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200A616-67F5-2A4E-BF85-C43DBEC39D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6771" y="2838602"/>
            <a:ext cx="9231858" cy="90992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200" b="1" cap="all" baseline="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4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4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4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cap="all" baseline="0"/>
              <a:t>Title text goes here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72F3638E-B5FD-064A-B0E9-D84C20E27F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6771" y="3691309"/>
            <a:ext cx="6770688" cy="12890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200" spc="50" baseline="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36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36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36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 text inserted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9DD9F65-C511-094D-8442-B2B85D701B59}"/>
              </a:ext>
            </a:extLst>
          </p:cNvPr>
          <p:cNvSpPr/>
          <p:nvPr userDrawn="1"/>
        </p:nvSpPr>
        <p:spPr>
          <a:xfrm>
            <a:off x="0" y="6225236"/>
            <a:ext cx="12192000" cy="6327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A56319E-B4F6-814B-8E42-BE5D5751AF46}"/>
              </a:ext>
            </a:extLst>
          </p:cNvPr>
          <p:cNvCxnSpPr>
            <a:cxnSpLocks/>
          </p:cNvCxnSpPr>
          <p:nvPr userDrawn="1"/>
        </p:nvCxnSpPr>
        <p:spPr>
          <a:xfrm>
            <a:off x="553252" y="3561229"/>
            <a:ext cx="646898" cy="0"/>
          </a:xfrm>
          <a:prstGeom prst="line">
            <a:avLst/>
          </a:prstGeom>
          <a:ln w="222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65409014-0CA0-6B44-B9C1-A0DB3843CB5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6400" y="401740"/>
            <a:ext cx="2844800" cy="1467200"/>
          </a:xfrm>
          <a:prstGeom prst="rect">
            <a:avLst/>
          </a:prstGeom>
        </p:spPr>
      </p:pic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365C3155-8029-EA47-9AB5-F3F45520A350}"/>
              </a:ext>
            </a:extLst>
          </p:cNvPr>
          <p:cNvCxnSpPr>
            <a:cxnSpLocks/>
          </p:cNvCxnSpPr>
          <p:nvPr userDrawn="1"/>
        </p:nvCxnSpPr>
        <p:spPr>
          <a:xfrm>
            <a:off x="-6601" y="6225236"/>
            <a:ext cx="12198601" cy="0"/>
          </a:xfrm>
          <a:prstGeom prst="line">
            <a:avLst/>
          </a:prstGeom>
          <a:ln w="25400">
            <a:gradFill>
              <a:gsLst>
                <a:gs pos="23000">
                  <a:srgbClr val="194782"/>
                </a:gs>
                <a:gs pos="99000">
                  <a:srgbClr val="5E6C85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0962B4A8-8523-4829-8B89-5938B3AD1B9E}"/>
              </a:ext>
            </a:extLst>
          </p:cNvPr>
          <p:cNvPicPr>
            <a:picLocks noChangeAspect="1"/>
          </p:cNvPicPr>
          <p:nvPr userDrawn="1"/>
        </p:nvPicPr>
        <p:blipFill>
          <a:blip/>
          <a:srcRect/>
          <a:stretch/>
        </p:blipFill>
        <p:spPr>
          <a:xfrm>
            <a:off x="10940400" y="6391625"/>
            <a:ext cx="1022399" cy="277261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op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F619E85-45E4-9D4E-A3A4-BB44795694B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698C"/>
              </a:gs>
              <a:gs pos="100000">
                <a:srgbClr val="5096A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6FB198-D111-A040-BE36-7F22B3C79C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40000"/>
          </a:blip>
          <a:stretch>
            <a:fillRect/>
          </a:stretch>
        </p:blipFill>
        <p:spPr>
          <a:xfrm>
            <a:off x="7144143" y="-1235270"/>
            <a:ext cx="9943593" cy="9153205"/>
          </a:xfrm>
          <a:prstGeom prst="rect">
            <a:avLst/>
          </a:prstGeom>
        </p:spPr>
      </p:pic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200A616-67F5-2A4E-BF85-C43DBEC39D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6771" y="2838602"/>
            <a:ext cx="9231858" cy="909926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4200" b="1" cap="all" baseline="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4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4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4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cap="all" baseline="0"/>
              <a:t>Title text goes here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72F3638E-B5FD-064A-B0E9-D84C20E27F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6771" y="3691309"/>
            <a:ext cx="6770688" cy="12890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200" spc="50" baseline="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36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36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36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 text inserted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9DD9F65-C511-094D-8442-B2B85D701B59}"/>
              </a:ext>
            </a:extLst>
          </p:cNvPr>
          <p:cNvSpPr/>
          <p:nvPr userDrawn="1"/>
        </p:nvSpPr>
        <p:spPr>
          <a:xfrm>
            <a:off x="0" y="6225236"/>
            <a:ext cx="12192000" cy="6327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A56319E-B4F6-814B-8E42-BE5D5751AF46}"/>
              </a:ext>
            </a:extLst>
          </p:cNvPr>
          <p:cNvCxnSpPr>
            <a:cxnSpLocks/>
          </p:cNvCxnSpPr>
          <p:nvPr userDrawn="1"/>
        </p:nvCxnSpPr>
        <p:spPr>
          <a:xfrm>
            <a:off x="553252" y="3561229"/>
            <a:ext cx="646898" cy="0"/>
          </a:xfrm>
          <a:prstGeom prst="line">
            <a:avLst/>
          </a:prstGeom>
          <a:ln w="222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742A97FC-C41D-A043-B042-A0FDDE927E9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6400" y="401740"/>
            <a:ext cx="2844800" cy="14672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22C2294E-6696-9E4F-A8AC-93DF5E766971}"/>
              </a:ext>
            </a:extLst>
          </p:cNvPr>
          <p:cNvPicPr>
            <a:picLocks noChangeAspect="1"/>
          </p:cNvPicPr>
          <p:nvPr userDrawn="1"/>
        </p:nvPicPr>
        <p:blipFill>
          <a:blip/>
          <a:srcRect/>
          <a:stretch/>
        </p:blipFill>
        <p:spPr>
          <a:xfrm>
            <a:off x="10940400" y="6391625"/>
            <a:ext cx="1022399" cy="277261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ED98A5D-8E2E-484C-B85F-4A56B5B21745}"/>
              </a:ext>
            </a:extLst>
          </p:cNvPr>
          <p:cNvCxnSpPr>
            <a:cxnSpLocks/>
          </p:cNvCxnSpPr>
          <p:nvPr userDrawn="1"/>
        </p:nvCxnSpPr>
        <p:spPr>
          <a:xfrm>
            <a:off x="-6601" y="6225236"/>
            <a:ext cx="12198601" cy="0"/>
          </a:xfrm>
          <a:prstGeom prst="line">
            <a:avLst/>
          </a:prstGeom>
          <a:ln w="25400">
            <a:gradFill>
              <a:gsLst>
                <a:gs pos="23000">
                  <a:srgbClr val="194782"/>
                </a:gs>
                <a:gs pos="99000">
                  <a:srgbClr val="5E6C85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op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153C1ACE-C772-CF45-84E7-9A16D6BB07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6046953" y="878169"/>
            <a:ext cx="9392394" cy="9600842"/>
          </a:xfrm>
          <a:prstGeom prst="rect">
            <a:avLst/>
          </a:prstGeom>
        </p:spPr>
      </p:pic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200A616-67F5-2A4E-BF85-C43DBEC39D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05840" y="2914223"/>
            <a:ext cx="6770688" cy="909926"/>
          </a:xfrm>
        </p:spPr>
        <p:txBody>
          <a:bodyPr anchor="b">
            <a:noAutofit/>
          </a:bodyPr>
          <a:lstStyle>
            <a:lvl1pPr marL="0" indent="0">
              <a:lnSpc>
                <a:spcPts val="4100"/>
              </a:lnSpc>
              <a:buFontTx/>
              <a:buNone/>
              <a:defRPr sz="4200" b="1" cap="all" baseline="0">
                <a:solidFill>
                  <a:srgbClr val="5E6C85"/>
                </a:solidFill>
              </a:defRPr>
            </a:lvl1pPr>
            <a:lvl2pPr marL="457200" indent="0">
              <a:buFontTx/>
              <a:buNone/>
              <a:defRPr sz="4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4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4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cap="all" baseline="0"/>
              <a:t>Title text inserted here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72F3638E-B5FD-064A-B0E9-D84C20E27F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05840" y="4185913"/>
            <a:ext cx="6770688" cy="12890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b="0" i="0">
                <a:solidFill>
                  <a:srgbClr val="00698C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Tx/>
              <a:buNone/>
              <a:defRPr sz="36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36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36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 text inserted here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1B44CC3C-1819-4C48-8746-3A4466566AD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454805" y="6025956"/>
            <a:ext cx="2277618" cy="41059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E080E9F-CA84-F444-961E-BC9BF406BEB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5938" y="376749"/>
            <a:ext cx="2720804" cy="136040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7260CCB1-FFFB-704C-AB84-F92073AF5586}"/>
              </a:ext>
            </a:extLst>
          </p:cNvPr>
          <p:cNvSpPr/>
          <p:nvPr userDrawn="1"/>
        </p:nvSpPr>
        <p:spPr>
          <a:xfrm>
            <a:off x="0" y="6225236"/>
            <a:ext cx="12192000" cy="632764"/>
          </a:xfrm>
          <a:prstGeom prst="rect">
            <a:avLst/>
          </a:prstGeom>
          <a:solidFill>
            <a:srgbClr val="5096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9044FE6-8CED-A540-B898-AB8370D9FB92}"/>
              </a:ext>
            </a:extLst>
          </p:cNvPr>
          <p:cNvCxnSpPr>
            <a:cxnSpLocks/>
          </p:cNvCxnSpPr>
          <p:nvPr userDrawn="1"/>
        </p:nvCxnSpPr>
        <p:spPr>
          <a:xfrm>
            <a:off x="1092200" y="4094629"/>
            <a:ext cx="864347" cy="0"/>
          </a:xfrm>
          <a:prstGeom prst="line">
            <a:avLst/>
          </a:prstGeom>
          <a:ln w="22225">
            <a:solidFill>
              <a:srgbClr val="A5CFD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370">
          <p15:clr>
            <a:srgbClr val="FBAE40"/>
          </p15:clr>
        </p15:guide>
        <p15:guide id="4" pos="688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op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F619E85-45E4-9D4E-A3A4-BB44795694B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698C"/>
              </a:gs>
              <a:gs pos="100000">
                <a:srgbClr val="5096A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200A616-67F5-2A4E-BF85-C43DBEC39D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6771" y="2615978"/>
            <a:ext cx="6770688" cy="909926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3600" b="1" cap="all" baseline="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4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4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4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cap="all" baseline="0"/>
              <a:t>Title text inserted here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72F3638E-B5FD-064A-B0E9-D84C20E27F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6771" y="3872268"/>
            <a:ext cx="6770688" cy="12890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spc="50" baseline="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36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36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36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 text inserted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9DD9F65-C511-094D-8442-B2B85D701B59}"/>
              </a:ext>
            </a:extLst>
          </p:cNvPr>
          <p:cNvSpPr/>
          <p:nvPr userDrawn="1"/>
        </p:nvSpPr>
        <p:spPr>
          <a:xfrm>
            <a:off x="0" y="6225236"/>
            <a:ext cx="12192000" cy="6327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A56319E-B4F6-814B-8E42-BE5D5751AF46}"/>
              </a:ext>
            </a:extLst>
          </p:cNvPr>
          <p:cNvCxnSpPr>
            <a:cxnSpLocks/>
          </p:cNvCxnSpPr>
          <p:nvPr userDrawn="1"/>
        </p:nvCxnSpPr>
        <p:spPr>
          <a:xfrm>
            <a:off x="553252" y="3742188"/>
            <a:ext cx="646898" cy="0"/>
          </a:xfrm>
          <a:prstGeom prst="line">
            <a:avLst/>
          </a:prstGeom>
          <a:ln w="222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_op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F619E85-45E4-9D4E-A3A4-BB44795694B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698C"/>
              </a:gs>
              <a:gs pos="100000">
                <a:srgbClr val="5096A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9053A5AD-11E4-F544-8C54-8AB3F1A715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40000"/>
          </a:blip>
          <a:stretch>
            <a:fillRect/>
          </a:stretch>
        </p:blipFill>
        <p:spPr>
          <a:xfrm>
            <a:off x="7144143" y="-1235270"/>
            <a:ext cx="9943593" cy="9153205"/>
          </a:xfrm>
          <a:prstGeom prst="rect">
            <a:avLst/>
          </a:prstGeom>
        </p:spPr>
      </p:pic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200A616-67F5-2A4E-BF85-C43DBEC39D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6771" y="2615978"/>
            <a:ext cx="6770688" cy="909926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3600" b="1" cap="all" baseline="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48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48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48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4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cap="all" baseline="0"/>
              <a:t>Title text inserted here</a:t>
            </a:r>
            <a:endParaRPr lang="en-US"/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72F3638E-B5FD-064A-B0E9-D84C20E27F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6771" y="3872268"/>
            <a:ext cx="6770688" cy="128905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000" spc="50" baseline="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36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36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36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 text inserted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9DD9F65-C511-094D-8442-B2B85D701B59}"/>
              </a:ext>
            </a:extLst>
          </p:cNvPr>
          <p:cNvSpPr/>
          <p:nvPr userDrawn="1"/>
        </p:nvSpPr>
        <p:spPr>
          <a:xfrm>
            <a:off x="0" y="6225236"/>
            <a:ext cx="12192000" cy="632764"/>
          </a:xfrm>
          <a:prstGeom prst="rect">
            <a:avLst/>
          </a:prstGeom>
          <a:solidFill>
            <a:srgbClr val="5096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A56319E-B4F6-814B-8E42-BE5D5751AF46}"/>
              </a:ext>
            </a:extLst>
          </p:cNvPr>
          <p:cNvCxnSpPr>
            <a:cxnSpLocks/>
          </p:cNvCxnSpPr>
          <p:nvPr userDrawn="1"/>
        </p:nvCxnSpPr>
        <p:spPr>
          <a:xfrm>
            <a:off x="553252" y="3742188"/>
            <a:ext cx="646898" cy="0"/>
          </a:xfrm>
          <a:prstGeom prst="line">
            <a:avLst/>
          </a:prstGeom>
          <a:ln w="222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8DA44B14-6C28-3342-BDE3-06C0430E77E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06400" y="401740"/>
            <a:ext cx="2844800" cy="14672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88C69-51BD-0E46-8568-07D1E46FBB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573" y="171170"/>
            <a:ext cx="10515600" cy="711116"/>
          </a:xfrm>
        </p:spPr>
        <p:txBody>
          <a:bodyPr anchor="ctr">
            <a:normAutofit/>
          </a:bodyPr>
          <a:lstStyle>
            <a:lvl1pPr>
              <a:defRPr sz="2800" b="1" cap="all" baseline="0">
                <a:solidFill>
                  <a:srgbClr val="5E6C85"/>
                </a:solidFill>
              </a:defRPr>
            </a:lvl1pPr>
          </a:lstStyle>
          <a:p>
            <a:r>
              <a:rPr lang="en-GB"/>
              <a:t>Slide title text goes her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1F7C6-44D6-AB4A-A65B-07A960EA08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573" y="1825625"/>
            <a:ext cx="10515600" cy="37628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500">
                <a:solidFill>
                  <a:srgbClr val="5E6C85"/>
                </a:solidFill>
              </a:defRPr>
            </a:lvl1pPr>
            <a:lvl2pPr marL="4572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2D1E0FA-552B-C34A-97F3-89E57BBCEF9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5573" y="1145616"/>
            <a:ext cx="8051800" cy="541338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700">
                <a:solidFill>
                  <a:srgbClr val="00698C"/>
                </a:solidFill>
              </a:defRPr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Slide sub title text goes he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F17DE5B-F7C1-1A49-BDD4-95340CCB72C3}"/>
              </a:ext>
            </a:extLst>
          </p:cNvPr>
          <p:cNvSpPr/>
          <p:nvPr userDrawn="1"/>
        </p:nvSpPr>
        <p:spPr>
          <a:xfrm>
            <a:off x="0" y="6225236"/>
            <a:ext cx="12192000" cy="6327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01A03A2-9211-5D4B-9D25-10DB509DE700}"/>
              </a:ext>
            </a:extLst>
          </p:cNvPr>
          <p:cNvCxnSpPr>
            <a:cxnSpLocks/>
          </p:cNvCxnSpPr>
          <p:nvPr userDrawn="1"/>
        </p:nvCxnSpPr>
        <p:spPr>
          <a:xfrm>
            <a:off x="-6601" y="6566351"/>
            <a:ext cx="12198601" cy="0"/>
          </a:xfrm>
          <a:prstGeom prst="line">
            <a:avLst/>
          </a:prstGeom>
          <a:ln w="25400">
            <a:gradFill>
              <a:gsLst>
                <a:gs pos="23000">
                  <a:srgbClr val="194782"/>
                </a:gs>
                <a:gs pos="99000">
                  <a:srgbClr val="5E6C85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21433A0-806D-4448-BD5F-A9BCFC650649}"/>
              </a:ext>
            </a:extLst>
          </p:cNvPr>
          <p:cNvCxnSpPr>
            <a:cxnSpLocks/>
          </p:cNvCxnSpPr>
          <p:nvPr userDrawn="1"/>
        </p:nvCxnSpPr>
        <p:spPr>
          <a:xfrm>
            <a:off x="0" y="1094328"/>
            <a:ext cx="864000" cy="0"/>
          </a:xfrm>
          <a:prstGeom prst="line">
            <a:avLst/>
          </a:prstGeom>
          <a:ln w="25400">
            <a:gradFill>
              <a:gsLst>
                <a:gs pos="23000">
                  <a:srgbClr val="194782"/>
                </a:gs>
                <a:gs pos="99000">
                  <a:srgbClr val="5E6C85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B6AEC0D-B963-464A-82DC-BCA316188F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5449" y="6381946"/>
            <a:ext cx="10800000" cy="173853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/>
              <a:t>Footnotes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649144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88C69-51BD-0E46-8568-07D1E46FBB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573" y="171170"/>
            <a:ext cx="10515600" cy="711116"/>
          </a:xfrm>
        </p:spPr>
        <p:txBody>
          <a:bodyPr anchor="ctr">
            <a:normAutofit/>
          </a:bodyPr>
          <a:lstStyle>
            <a:lvl1pPr>
              <a:defRPr sz="2800" b="1" cap="all" baseline="0">
                <a:solidFill>
                  <a:srgbClr val="5E6C85"/>
                </a:solidFill>
              </a:defRPr>
            </a:lvl1pPr>
          </a:lstStyle>
          <a:p>
            <a:r>
              <a:rPr lang="en-GB"/>
              <a:t>Slide title text goes her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1F7C6-44D6-AB4A-A65B-07A960EA08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573" y="1825625"/>
            <a:ext cx="10515600" cy="37628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500">
                <a:solidFill>
                  <a:srgbClr val="5E6C85"/>
                </a:solidFill>
              </a:defRPr>
            </a:lvl1pPr>
            <a:lvl2pPr marL="4572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2D1E0FA-552B-C34A-97F3-89E57BBCEF9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5573" y="1145616"/>
            <a:ext cx="8051800" cy="541338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700">
                <a:solidFill>
                  <a:srgbClr val="00698C"/>
                </a:solidFill>
              </a:defRPr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Slide sub title text goes her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21433A0-806D-4448-BD5F-A9BCFC650649}"/>
              </a:ext>
            </a:extLst>
          </p:cNvPr>
          <p:cNvCxnSpPr>
            <a:cxnSpLocks/>
          </p:cNvCxnSpPr>
          <p:nvPr userDrawn="1"/>
        </p:nvCxnSpPr>
        <p:spPr>
          <a:xfrm>
            <a:off x="0" y="1094328"/>
            <a:ext cx="864000" cy="0"/>
          </a:xfrm>
          <a:prstGeom prst="line">
            <a:avLst/>
          </a:prstGeom>
          <a:ln w="25400">
            <a:gradFill>
              <a:gsLst>
                <a:gs pos="23000">
                  <a:srgbClr val="194782"/>
                </a:gs>
                <a:gs pos="99000">
                  <a:srgbClr val="5E6C85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B6AEC0D-B963-464A-82DC-BCA316188F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5449" y="6381946"/>
            <a:ext cx="10800000" cy="173853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/>
              <a:t>Footnotes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88C69-51BD-0E46-8568-07D1E46FBB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573" y="171170"/>
            <a:ext cx="10515600" cy="711116"/>
          </a:xfrm>
        </p:spPr>
        <p:txBody>
          <a:bodyPr anchor="ctr">
            <a:normAutofit/>
          </a:bodyPr>
          <a:lstStyle>
            <a:lvl1pPr>
              <a:defRPr sz="2800" b="1" cap="all" baseline="0">
                <a:solidFill>
                  <a:srgbClr val="5E6C85"/>
                </a:solidFill>
              </a:defRPr>
            </a:lvl1pPr>
          </a:lstStyle>
          <a:p>
            <a:r>
              <a:rPr lang="en-GB"/>
              <a:t>Slide title text goes her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1F7C6-44D6-AB4A-A65B-07A960EA08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80185" y="1825625"/>
            <a:ext cx="6186242" cy="3762817"/>
          </a:xfr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800">
                <a:solidFill>
                  <a:srgbClr val="5E6C85"/>
                </a:solidFill>
              </a:defRPr>
            </a:lvl1pPr>
            <a:lvl2pPr marL="4572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F17DE5B-F7C1-1A49-BDD4-95340CCB72C3}"/>
              </a:ext>
            </a:extLst>
          </p:cNvPr>
          <p:cNvSpPr/>
          <p:nvPr userDrawn="1"/>
        </p:nvSpPr>
        <p:spPr>
          <a:xfrm>
            <a:off x="0" y="6225236"/>
            <a:ext cx="12192000" cy="6327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82C8130-016A-F846-AE0F-5AB3B1CEDA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3926" y="256717"/>
            <a:ext cx="1667348" cy="83367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01A03A2-9211-5D4B-9D25-10DB509DE700}"/>
              </a:ext>
            </a:extLst>
          </p:cNvPr>
          <p:cNvCxnSpPr>
            <a:cxnSpLocks/>
          </p:cNvCxnSpPr>
          <p:nvPr userDrawn="1"/>
        </p:nvCxnSpPr>
        <p:spPr>
          <a:xfrm>
            <a:off x="-6601" y="6566351"/>
            <a:ext cx="12198601" cy="0"/>
          </a:xfrm>
          <a:prstGeom prst="line">
            <a:avLst/>
          </a:prstGeom>
          <a:ln w="25400">
            <a:gradFill>
              <a:gsLst>
                <a:gs pos="23000">
                  <a:srgbClr val="194782"/>
                </a:gs>
                <a:gs pos="99000">
                  <a:srgbClr val="5E6C85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21433A0-806D-4448-BD5F-A9BCFC650649}"/>
              </a:ext>
            </a:extLst>
          </p:cNvPr>
          <p:cNvCxnSpPr>
            <a:cxnSpLocks/>
          </p:cNvCxnSpPr>
          <p:nvPr userDrawn="1"/>
        </p:nvCxnSpPr>
        <p:spPr>
          <a:xfrm>
            <a:off x="0" y="1094328"/>
            <a:ext cx="864000" cy="0"/>
          </a:xfrm>
          <a:prstGeom prst="line">
            <a:avLst/>
          </a:prstGeom>
          <a:ln w="25400">
            <a:gradFill>
              <a:gsLst>
                <a:gs pos="23000">
                  <a:srgbClr val="194782"/>
                </a:gs>
                <a:gs pos="99000">
                  <a:srgbClr val="5E6C85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B6AEC0D-B963-464A-82DC-BCA316188F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5449" y="6381946"/>
            <a:ext cx="10800000" cy="173853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/>
              <a:t>Footnotes</a:t>
            </a:r>
          </a:p>
        </p:txBody>
      </p:sp>
      <p:sp>
        <p:nvSpPr>
          <p:cNvPr id="12" name="Platshållare för text 14">
            <a:extLst>
              <a:ext uri="{FF2B5EF4-FFF2-40B4-BE49-F238E27FC236}">
                <a16:creationId xmlns:a16="http://schemas.microsoft.com/office/drawing/2014/main" id="{C113A9A5-7120-4849-B1F1-7D5C99A919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flipH="1">
            <a:off x="425573" y="1122363"/>
            <a:ext cx="4613273" cy="4613273"/>
          </a:xfrm>
          <a:custGeom>
            <a:avLst/>
            <a:gdLst>
              <a:gd name="connsiteX0" fmla="*/ 1835944 w 3671888"/>
              <a:gd name="connsiteY0" fmla="*/ 0 h 3671888"/>
              <a:gd name="connsiteX1" fmla="*/ 3671888 w 3671888"/>
              <a:gd name="connsiteY1" fmla="*/ 1835944 h 3671888"/>
              <a:gd name="connsiteX2" fmla="*/ 1835944 w 3671888"/>
              <a:gd name="connsiteY2" fmla="*/ 3671888 h 3671888"/>
              <a:gd name="connsiteX3" fmla="*/ 960824 w 3671888"/>
              <a:gd name="connsiteY3" fmla="*/ 3450300 h 3671888"/>
              <a:gd name="connsiteX4" fmla="*/ 934990 w 3671888"/>
              <a:gd name="connsiteY4" fmla="*/ 3434605 h 3671888"/>
              <a:gd name="connsiteX5" fmla="*/ 965119 w 3671888"/>
              <a:gd name="connsiteY5" fmla="*/ 3379095 h 3671888"/>
              <a:gd name="connsiteX6" fmla="*/ 992578 w 3671888"/>
              <a:gd name="connsiteY6" fmla="*/ 3243086 h 3671888"/>
              <a:gd name="connsiteX7" fmla="*/ 643161 w 3671888"/>
              <a:gd name="connsiteY7" fmla="*/ 2893669 h 3671888"/>
              <a:gd name="connsiteX8" fmla="*/ 447799 w 3671888"/>
              <a:gd name="connsiteY8" fmla="*/ 2953344 h 3671888"/>
              <a:gd name="connsiteX9" fmla="*/ 406815 w 3671888"/>
              <a:gd name="connsiteY9" fmla="*/ 2987159 h 3671888"/>
              <a:gd name="connsiteX10" fmla="*/ 313550 w 3671888"/>
              <a:gd name="connsiteY10" fmla="*/ 2862438 h 3671888"/>
              <a:gd name="connsiteX11" fmla="*/ 0 w 3671888"/>
              <a:gd name="connsiteY11" fmla="*/ 1835944 h 3671888"/>
              <a:gd name="connsiteX12" fmla="*/ 1835944 w 3671888"/>
              <a:gd name="connsiteY12" fmla="*/ 0 h 3671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671888" h="3671888">
                <a:moveTo>
                  <a:pt x="1835944" y="0"/>
                </a:moveTo>
                <a:cubicBezTo>
                  <a:pt x="2849908" y="0"/>
                  <a:pt x="3671888" y="821980"/>
                  <a:pt x="3671888" y="1835944"/>
                </a:cubicBezTo>
                <a:cubicBezTo>
                  <a:pt x="3671888" y="2849908"/>
                  <a:pt x="2849908" y="3671888"/>
                  <a:pt x="1835944" y="3671888"/>
                </a:cubicBezTo>
                <a:cubicBezTo>
                  <a:pt x="1519080" y="3671888"/>
                  <a:pt x="1220965" y="3591617"/>
                  <a:pt x="960824" y="3450300"/>
                </a:cubicBezTo>
                <a:lnTo>
                  <a:pt x="934990" y="3434605"/>
                </a:lnTo>
                <a:lnTo>
                  <a:pt x="965119" y="3379095"/>
                </a:lnTo>
                <a:cubicBezTo>
                  <a:pt x="982801" y="3337292"/>
                  <a:pt x="992578" y="3291331"/>
                  <a:pt x="992578" y="3243086"/>
                </a:cubicBezTo>
                <a:cubicBezTo>
                  <a:pt x="992578" y="3050108"/>
                  <a:pt x="836139" y="2893669"/>
                  <a:pt x="643161" y="2893669"/>
                </a:cubicBezTo>
                <a:cubicBezTo>
                  <a:pt x="570794" y="2893669"/>
                  <a:pt x="503566" y="2915668"/>
                  <a:pt x="447799" y="2953344"/>
                </a:cubicBezTo>
                <a:lnTo>
                  <a:pt x="406815" y="2987159"/>
                </a:lnTo>
                <a:lnTo>
                  <a:pt x="313550" y="2862438"/>
                </a:lnTo>
                <a:cubicBezTo>
                  <a:pt x="115591" y="2569420"/>
                  <a:pt x="0" y="2216181"/>
                  <a:pt x="0" y="1835944"/>
                </a:cubicBezTo>
                <a:cubicBezTo>
                  <a:pt x="0" y="821980"/>
                  <a:pt x="821980" y="0"/>
                  <a:pt x="1835944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</p:spPr>
        <p:txBody>
          <a:bodyPr wrap="square" anchor="ctr">
            <a:noAutofit/>
          </a:bodyPr>
          <a:lstStyle>
            <a:lvl1pPr marL="0" indent="0" algn="ctr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latshållare för text 16">
            <a:extLst>
              <a:ext uri="{FF2B5EF4-FFF2-40B4-BE49-F238E27FC236}">
                <a16:creationId xmlns:a16="http://schemas.microsoft.com/office/drawing/2014/main" id="{3E21448E-157C-49D8-ADB5-E6D5D07F73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44267" y="5328084"/>
            <a:ext cx="877998" cy="877998"/>
          </a:xfrm>
          <a:custGeom>
            <a:avLst/>
            <a:gdLst>
              <a:gd name="connsiteX0" fmla="*/ 349417 w 698834"/>
              <a:gd name="connsiteY0" fmla="*/ 0 h 698834"/>
              <a:gd name="connsiteX1" fmla="*/ 698834 w 698834"/>
              <a:gd name="connsiteY1" fmla="*/ 349417 h 698834"/>
              <a:gd name="connsiteX2" fmla="*/ 349417 w 698834"/>
              <a:gd name="connsiteY2" fmla="*/ 698834 h 698834"/>
              <a:gd name="connsiteX3" fmla="*/ 0 w 698834"/>
              <a:gd name="connsiteY3" fmla="*/ 349417 h 698834"/>
              <a:gd name="connsiteX4" fmla="*/ 349417 w 698834"/>
              <a:gd name="connsiteY4" fmla="*/ 0 h 69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8834" h="698834">
                <a:moveTo>
                  <a:pt x="349417" y="0"/>
                </a:moveTo>
                <a:cubicBezTo>
                  <a:pt x="542395" y="0"/>
                  <a:pt x="698834" y="156439"/>
                  <a:pt x="698834" y="349417"/>
                </a:cubicBezTo>
                <a:cubicBezTo>
                  <a:pt x="698834" y="542395"/>
                  <a:pt x="542395" y="698834"/>
                  <a:pt x="349417" y="698834"/>
                </a:cubicBezTo>
                <a:cubicBezTo>
                  <a:pt x="156439" y="698834"/>
                  <a:pt x="0" y="542395"/>
                  <a:pt x="0" y="349417"/>
                </a:cubicBezTo>
                <a:cubicBezTo>
                  <a:pt x="0" y="156439"/>
                  <a:pt x="156439" y="0"/>
                  <a:pt x="349417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 </a:t>
            </a:r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88C69-51BD-0E46-8568-07D1E46FBB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573" y="171170"/>
            <a:ext cx="10515600" cy="711116"/>
          </a:xfrm>
        </p:spPr>
        <p:txBody>
          <a:bodyPr anchor="ctr">
            <a:normAutofit/>
          </a:bodyPr>
          <a:lstStyle>
            <a:lvl1pPr>
              <a:defRPr sz="2800" b="1" cap="all" baseline="0">
                <a:solidFill>
                  <a:srgbClr val="5E6C85"/>
                </a:solidFill>
              </a:defRPr>
            </a:lvl1pPr>
          </a:lstStyle>
          <a:p>
            <a:r>
              <a:rPr lang="en-GB"/>
              <a:t>Slide title text goes her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1F7C6-44D6-AB4A-A65B-07A960EA08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573" y="1825625"/>
            <a:ext cx="7172656" cy="37628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500">
                <a:solidFill>
                  <a:srgbClr val="5E6C85"/>
                </a:solidFill>
              </a:defRPr>
            </a:lvl1pPr>
            <a:lvl2pPr marL="4572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F17DE5B-F7C1-1A49-BDD4-95340CCB72C3}"/>
              </a:ext>
            </a:extLst>
          </p:cNvPr>
          <p:cNvSpPr/>
          <p:nvPr userDrawn="1"/>
        </p:nvSpPr>
        <p:spPr>
          <a:xfrm>
            <a:off x="0" y="6225236"/>
            <a:ext cx="12192000" cy="6327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01A03A2-9211-5D4B-9D25-10DB509DE700}"/>
              </a:ext>
            </a:extLst>
          </p:cNvPr>
          <p:cNvCxnSpPr>
            <a:cxnSpLocks/>
          </p:cNvCxnSpPr>
          <p:nvPr userDrawn="1"/>
        </p:nvCxnSpPr>
        <p:spPr>
          <a:xfrm>
            <a:off x="-6601" y="6566351"/>
            <a:ext cx="12198601" cy="0"/>
          </a:xfrm>
          <a:prstGeom prst="line">
            <a:avLst/>
          </a:prstGeom>
          <a:ln w="25400">
            <a:gradFill>
              <a:gsLst>
                <a:gs pos="23000">
                  <a:srgbClr val="194782"/>
                </a:gs>
                <a:gs pos="99000">
                  <a:srgbClr val="5E6C85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21433A0-806D-4448-BD5F-A9BCFC650649}"/>
              </a:ext>
            </a:extLst>
          </p:cNvPr>
          <p:cNvCxnSpPr>
            <a:cxnSpLocks/>
          </p:cNvCxnSpPr>
          <p:nvPr userDrawn="1"/>
        </p:nvCxnSpPr>
        <p:spPr>
          <a:xfrm>
            <a:off x="0" y="1094328"/>
            <a:ext cx="864000" cy="0"/>
          </a:xfrm>
          <a:prstGeom prst="line">
            <a:avLst/>
          </a:prstGeom>
          <a:ln w="25400">
            <a:gradFill>
              <a:gsLst>
                <a:gs pos="23000">
                  <a:srgbClr val="194782"/>
                </a:gs>
                <a:gs pos="99000">
                  <a:srgbClr val="5E6C85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B6AEC0D-B963-464A-82DC-BCA316188F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5449" y="6381946"/>
            <a:ext cx="10800000" cy="173853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/>
              <a:t>Footnotes</a:t>
            </a:r>
          </a:p>
        </p:txBody>
      </p:sp>
      <p:sp>
        <p:nvSpPr>
          <p:cNvPr id="12" name="Platshållare för text 14">
            <a:extLst>
              <a:ext uri="{FF2B5EF4-FFF2-40B4-BE49-F238E27FC236}">
                <a16:creationId xmlns:a16="http://schemas.microsoft.com/office/drawing/2014/main" id="{C113A9A5-7120-4849-B1F1-7D5C99A919B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56585" y="1782000"/>
            <a:ext cx="3671888" cy="3671888"/>
          </a:xfrm>
          <a:custGeom>
            <a:avLst/>
            <a:gdLst>
              <a:gd name="connsiteX0" fmla="*/ 1835944 w 3671888"/>
              <a:gd name="connsiteY0" fmla="*/ 0 h 3671888"/>
              <a:gd name="connsiteX1" fmla="*/ 3671888 w 3671888"/>
              <a:gd name="connsiteY1" fmla="*/ 1835944 h 3671888"/>
              <a:gd name="connsiteX2" fmla="*/ 1835944 w 3671888"/>
              <a:gd name="connsiteY2" fmla="*/ 3671888 h 3671888"/>
              <a:gd name="connsiteX3" fmla="*/ 960824 w 3671888"/>
              <a:gd name="connsiteY3" fmla="*/ 3450300 h 3671888"/>
              <a:gd name="connsiteX4" fmla="*/ 934990 w 3671888"/>
              <a:gd name="connsiteY4" fmla="*/ 3434605 h 3671888"/>
              <a:gd name="connsiteX5" fmla="*/ 965119 w 3671888"/>
              <a:gd name="connsiteY5" fmla="*/ 3379095 h 3671888"/>
              <a:gd name="connsiteX6" fmla="*/ 992578 w 3671888"/>
              <a:gd name="connsiteY6" fmla="*/ 3243086 h 3671888"/>
              <a:gd name="connsiteX7" fmla="*/ 643161 w 3671888"/>
              <a:gd name="connsiteY7" fmla="*/ 2893669 h 3671888"/>
              <a:gd name="connsiteX8" fmla="*/ 447799 w 3671888"/>
              <a:gd name="connsiteY8" fmla="*/ 2953344 h 3671888"/>
              <a:gd name="connsiteX9" fmla="*/ 406815 w 3671888"/>
              <a:gd name="connsiteY9" fmla="*/ 2987159 h 3671888"/>
              <a:gd name="connsiteX10" fmla="*/ 313550 w 3671888"/>
              <a:gd name="connsiteY10" fmla="*/ 2862438 h 3671888"/>
              <a:gd name="connsiteX11" fmla="*/ 0 w 3671888"/>
              <a:gd name="connsiteY11" fmla="*/ 1835944 h 3671888"/>
              <a:gd name="connsiteX12" fmla="*/ 1835944 w 3671888"/>
              <a:gd name="connsiteY12" fmla="*/ 0 h 3671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671888" h="3671888">
                <a:moveTo>
                  <a:pt x="1835944" y="0"/>
                </a:moveTo>
                <a:cubicBezTo>
                  <a:pt x="2849908" y="0"/>
                  <a:pt x="3671888" y="821980"/>
                  <a:pt x="3671888" y="1835944"/>
                </a:cubicBezTo>
                <a:cubicBezTo>
                  <a:pt x="3671888" y="2849908"/>
                  <a:pt x="2849908" y="3671888"/>
                  <a:pt x="1835944" y="3671888"/>
                </a:cubicBezTo>
                <a:cubicBezTo>
                  <a:pt x="1519080" y="3671888"/>
                  <a:pt x="1220965" y="3591617"/>
                  <a:pt x="960824" y="3450300"/>
                </a:cubicBezTo>
                <a:lnTo>
                  <a:pt x="934990" y="3434605"/>
                </a:lnTo>
                <a:lnTo>
                  <a:pt x="965119" y="3379095"/>
                </a:lnTo>
                <a:cubicBezTo>
                  <a:pt x="982801" y="3337292"/>
                  <a:pt x="992578" y="3291331"/>
                  <a:pt x="992578" y="3243086"/>
                </a:cubicBezTo>
                <a:cubicBezTo>
                  <a:pt x="992578" y="3050108"/>
                  <a:pt x="836139" y="2893669"/>
                  <a:pt x="643161" y="2893669"/>
                </a:cubicBezTo>
                <a:cubicBezTo>
                  <a:pt x="570794" y="2893669"/>
                  <a:pt x="503566" y="2915668"/>
                  <a:pt x="447799" y="2953344"/>
                </a:cubicBezTo>
                <a:lnTo>
                  <a:pt x="406815" y="2987159"/>
                </a:lnTo>
                <a:lnTo>
                  <a:pt x="313550" y="2862438"/>
                </a:lnTo>
                <a:cubicBezTo>
                  <a:pt x="115591" y="2569420"/>
                  <a:pt x="0" y="2216181"/>
                  <a:pt x="0" y="1835944"/>
                </a:cubicBezTo>
                <a:cubicBezTo>
                  <a:pt x="0" y="821980"/>
                  <a:pt x="821980" y="0"/>
                  <a:pt x="1835944" y="0"/>
                </a:cubicBez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</p:spPr>
        <p:txBody>
          <a:bodyPr wrap="square" anchor="ctr">
            <a:noAutofit/>
          </a:bodyPr>
          <a:lstStyle>
            <a:lvl1pPr marL="0" indent="0" algn="ctr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Platshållare för text 16">
            <a:extLst>
              <a:ext uri="{FF2B5EF4-FFF2-40B4-BE49-F238E27FC236}">
                <a16:creationId xmlns:a16="http://schemas.microsoft.com/office/drawing/2014/main" id="{3E21448E-157C-49D8-ADB5-E6D5D07F739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851496" y="5328084"/>
            <a:ext cx="698834" cy="698834"/>
          </a:xfrm>
          <a:custGeom>
            <a:avLst/>
            <a:gdLst>
              <a:gd name="connsiteX0" fmla="*/ 349417 w 698834"/>
              <a:gd name="connsiteY0" fmla="*/ 0 h 698834"/>
              <a:gd name="connsiteX1" fmla="*/ 698834 w 698834"/>
              <a:gd name="connsiteY1" fmla="*/ 349417 h 698834"/>
              <a:gd name="connsiteX2" fmla="*/ 349417 w 698834"/>
              <a:gd name="connsiteY2" fmla="*/ 698834 h 698834"/>
              <a:gd name="connsiteX3" fmla="*/ 0 w 698834"/>
              <a:gd name="connsiteY3" fmla="*/ 349417 h 698834"/>
              <a:gd name="connsiteX4" fmla="*/ 349417 w 698834"/>
              <a:gd name="connsiteY4" fmla="*/ 0 h 6988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98834" h="698834">
                <a:moveTo>
                  <a:pt x="349417" y="0"/>
                </a:moveTo>
                <a:cubicBezTo>
                  <a:pt x="542395" y="0"/>
                  <a:pt x="698834" y="156439"/>
                  <a:pt x="698834" y="349417"/>
                </a:cubicBezTo>
                <a:cubicBezTo>
                  <a:pt x="698834" y="542395"/>
                  <a:pt x="542395" y="698834"/>
                  <a:pt x="349417" y="698834"/>
                </a:cubicBezTo>
                <a:cubicBezTo>
                  <a:pt x="156439" y="698834"/>
                  <a:pt x="0" y="542395"/>
                  <a:pt x="0" y="349417"/>
                </a:cubicBezTo>
                <a:cubicBezTo>
                  <a:pt x="0" y="156439"/>
                  <a:pt x="156439" y="0"/>
                  <a:pt x="349417" y="0"/>
                </a:cubicBez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sv-SE"/>
              <a:t> </a:t>
            </a:r>
          </a:p>
        </p:txBody>
      </p:sp>
      <p:sp>
        <p:nvSpPr>
          <p:cNvPr id="4" name="Text Placeholder 19">
            <a:extLst>
              <a:ext uri="{FF2B5EF4-FFF2-40B4-BE49-F238E27FC236}">
                <a16:creationId xmlns:a16="http://schemas.microsoft.com/office/drawing/2014/main" id="{096F288A-6703-075A-9DEB-09E2CCB122B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5573" y="1145616"/>
            <a:ext cx="8051800" cy="541338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700">
                <a:solidFill>
                  <a:srgbClr val="00698C"/>
                </a:solidFill>
              </a:defRPr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Slide sub title text goes here</a:t>
            </a:r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63ADD123-CF65-473C-A0EE-A1C55ECB0B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7" t="25417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Text&#10;&#10;Description automatically generated">
            <a:extLst>
              <a:ext uri="{FF2B5EF4-FFF2-40B4-BE49-F238E27FC236}">
                <a16:creationId xmlns:a16="http://schemas.microsoft.com/office/drawing/2014/main" id="{A5F54CF2-A554-458A-B812-73CFB270A7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93000" y="901700"/>
            <a:ext cx="4290944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93000" y="3429000"/>
            <a:ext cx="4290944" cy="10609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F638119B-DA72-429D-B50D-F2BF8D9949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7" t="26453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Text&#10;&#10;Description automatically generated">
            <a:extLst>
              <a:ext uri="{FF2B5EF4-FFF2-40B4-BE49-F238E27FC236}">
                <a16:creationId xmlns:a16="http://schemas.microsoft.com/office/drawing/2014/main" id="{4A0F2C23-8209-48CA-A67C-85D1C798A6E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901700"/>
            <a:ext cx="4290944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97280" y="3429000"/>
            <a:ext cx="4290944" cy="10609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 w/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679921A0-FB50-4144-A6BB-7AFFE9C046B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7" t="26453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Text&#10;&#10;Description automatically generated">
            <a:extLst>
              <a:ext uri="{FF2B5EF4-FFF2-40B4-BE49-F238E27FC236}">
                <a16:creationId xmlns:a16="http://schemas.microsoft.com/office/drawing/2014/main" id="{C40D1FAB-BAE6-45DB-B5EC-6D54361DB8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93000" y="2909668"/>
            <a:ext cx="4290944" cy="600559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493000" y="3618621"/>
            <a:ext cx="4291013" cy="151958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chemeClr val="tx2"/>
                </a:solidFill>
              </a:defRPr>
            </a:lvl2pPr>
            <a:lvl3pPr marL="914400" indent="0">
              <a:buNone/>
              <a:defRPr sz="1400">
                <a:solidFill>
                  <a:schemeClr val="tx2"/>
                </a:solidFill>
              </a:defRPr>
            </a:lvl3pPr>
            <a:lvl4pPr marL="1371600" indent="0">
              <a:buNone/>
              <a:defRPr sz="1400">
                <a:solidFill>
                  <a:schemeClr val="tx2"/>
                </a:solidFill>
              </a:defRPr>
            </a:lvl4pPr>
            <a:lvl5pPr marL="1828800" indent="0"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6051" y="1456531"/>
            <a:ext cx="4376061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er 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CF28003-D125-4B04-9F3A-C5A0F24F0C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295900" cy="4586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 descr="Text&#10;&#10;Description automatically generated">
            <a:extLst>
              <a:ext uri="{FF2B5EF4-FFF2-40B4-BE49-F238E27FC236}">
                <a16:creationId xmlns:a16="http://schemas.microsoft.com/office/drawing/2014/main" id="{B0E7503D-D419-4203-92C9-358C16DADB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5995089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794" y="1440630"/>
            <a:ext cx="380386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0728" y="1676400"/>
            <a:ext cx="4997672" cy="3869932"/>
          </a:xfrm>
        </p:spPr>
        <p:txBody>
          <a:bodyPr lIns="0" tIns="0" rIns="0" bIns="0">
            <a:normAutofit/>
          </a:bodyPr>
          <a:lstStyle>
            <a:lvl1pPr marL="119063" indent="-119063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4488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1500" indent="-10636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0288" indent="-109538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2" y="6509189"/>
            <a:ext cx="9056980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443091-F422-4ABA-93B1-89E089D73A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DDAD4091-7095-485D-8839-ABCB2893A5CC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FA0D43D-7E8D-4478-9AD0-5563FCEB2C7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74BC9767-F9D5-41EB-807E-DC5B086A71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F57E4C2-4E2E-4C68-A6E3-FAF916FF4EEF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8" descr="Text&#10;&#10;Description automatically generated">
            <a:extLst>
              <a:ext uri="{FF2B5EF4-FFF2-40B4-BE49-F238E27FC236}">
                <a16:creationId xmlns:a16="http://schemas.microsoft.com/office/drawing/2014/main" id="{85F36345-8389-4A4B-9B9D-5ECDBCCEEF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1701" y="1345851"/>
            <a:ext cx="11064241" cy="4351338"/>
          </a:xfrm>
        </p:spPr>
        <p:txBody>
          <a:bodyPr lIns="0" tIns="0" rIns="0" bIns="0">
            <a:normAutofit/>
          </a:bodyPr>
          <a:lstStyle>
            <a:lvl1pPr marL="115888" indent="-11588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4488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3088" indent="-107950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1688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0288" indent="-109538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2" y="6571559"/>
            <a:ext cx="9056979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EDBE443-B7AD-4CAB-98D8-44446BBD88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CBAE0B00-DA62-4F9A-9905-D132485A9ACB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06F0C37-802E-4CF0-8D09-7DF3250F00A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Slide_Un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F5ABB67A-C3F1-4B21-B295-168A898402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8C74A00-9BDB-4434-B681-3D214BCD450F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8" descr="Text&#10;&#10;Description automatically generated">
            <a:extLst>
              <a:ext uri="{FF2B5EF4-FFF2-40B4-BE49-F238E27FC236}">
                <a16:creationId xmlns:a16="http://schemas.microsoft.com/office/drawing/2014/main" id="{78AA31BD-A6D4-499D-8334-63477D9FDB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1701" y="1346456"/>
            <a:ext cx="11064241" cy="4351338"/>
          </a:xfrm>
        </p:spPr>
        <p:txBody>
          <a:bodyPr lIns="0" tIns="0" rIns="0" bIns="0">
            <a:normAutofit/>
          </a:bodyPr>
          <a:lstStyle>
            <a:lvl1pPr marL="114300" indent="-1143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6075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6263" indent="-111125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1688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1875" indent="-111125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1" y="6509189"/>
            <a:ext cx="9471299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DEFE44C-51FE-4E52-8F4A-5DD92DBFCF7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AB947943-C606-4ED7-BDDC-8188EAA33D75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6B71D7-CCDB-4FAF-B212-A505573354A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4809086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2 Content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C909890B-1AAC-493C-BD56-63278A49C72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3735EA9-0DB8-4B5C-B1C5-5F42A4313C9A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8" descr="Text&#10;&#10;Description automatically generated">
            <a:extLst>
              <a:ext uri="{FF2B5EF4-FFF2-40B4-BE49-F238E27FC236}">
                <a16:creationId xmlns:a16="http://schemas.microsoft.com/office/drawing/2014/main" id="{D8FD1FC9-CA93-458A-BF9C-55859FE9D0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12341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0" y="210312"/>
            <a:ext cx="10515600" cy="850392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1700" y="1346456"/>
            <a:ext cx="4937760" cy="4351338"/>
          </a:xfrm>
        </p:spPr>
        <p:txBody>
          <a:bodyPr lIns="0" tIns="0" rIns="0" bIns="0">
            <a:normAutofit/>
          </a:bodyPr>
          <a:lstStyle>
            <a:lvl1pPr marL="122238" indent="-12223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9250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7850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3463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6139542" y="1346456"/>
            <a:ext cx="4937760" cy="4351338"/>
          </a:xfrm>
        </p:spPr>
        <p:txBody>
          <a:bodyPr lIns="0" tIns="0" rIns="0" bIns="0">
            <a:normAutofit/>
          </a:bodyPr>
          <a:lstStyle>
            <a:lvl1pPr marL="122238" indent="-12223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9250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7850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22238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3463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699" y="6571559"/>
            <a:ext cx="9051521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DE03FDF-9AA2-44EC-8CCC-FBD59577F1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9725" y="6462713"/>
            <a:ext cx="277813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A3DA53F4-57F0-48B1-9791-7EE34C979161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68A1770-BD92-482E-A50D-6560C7F6028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C2ED7D8D-4CFF-4687-832E-D7564B066A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6E0F5A6-FDDE-4DBB-AB41-0F3FE5925F1A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8" descr="Text&#10;&#10;Description automatically generated">
            <a:extLst>
              <a:ext uri="{FF2B5EF4-FFF2-40B4-BE49-F238E27FC236}">
                <a16:creationId xmlns:a16="http://schemas.microsoft.com/office/drawing/2014/main" id="{5E5DCD8F-F7BD-4AFC-BC2B-282A2C03509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2" y="6509189"/>
            <a:ext cx="9056980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E09261-9E53-423B-BE45-8BC02FEF017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6995DCC3-C1E0-4209-B893-2DE21D125AC3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855E7A-DDFB-465A-B094-14CD82EF6D8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Text&#10;&#10;Description automatically generated">
            <a:extLst>
              <a:ext uri="{FF2B5EF4-FFF2-40B4-BE49-F238E27FC236}">
                <a16:creationId xmlns:a16="http://schemas.microsoft.com/office/drawing/2014/main" id="{73DE7B9A-B217-4157-99FD-D58D616A73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1ADD0E-539A-4505-BCB8-0C71E7B770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11695EF4-6BAA-480B-B516-B23915D9AC24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8DECD5-88FD-4DC2-B8D1-6EDE10385F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Text&#10;&#10;Description automatically generated">
            <a:extLst>
              <a:ext uri="{FF2B5EF4-FFF2-40B4-BE49-F238E27FC236}">
                <a16:creationId xmlns:a16="http://schemas.microsoft.com/office/drawing/2014/main" id="{1655A344-D7FA-498E-BFDF-393C0C3E02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0456D4C-9315-4F2B-9EB6-9B2A5962E50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8BA1A8DB-8491-4E55-BBF7-843859B073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7" t="26453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>
            <a:extLst>
              <a:ext uri="{FF2B5EF4-FFF2-40B4-BE49-F238E27FC236}">
                <a16:creationId xmlns:a16="http://schemas.microsoft.com/office/drawing/2014/main" id="{702E6477-E956-4D79-BC73-8786B59E81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138" y="631825"/>
            <a:ext cx="168910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 descr="Text&#10;&#10;Description automatically generated">
            <a:extLst>
              <a:ext uri="{FF2B5EF4-FFF2-40B4-BE49-F238E27FC236}">
                <a16:creationId xmlns:a16="http://schemas.microsoft.com/office/drawing/2014/main" id="{DE8D4E1F-B643-4285-8F5D-0982DE20A5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9721" y="1522752"/>
            <a:ext cx="4671827" cy="2149274"/>
          </a:xfrm>
        </p:spPr>
        <p:txBody>
          <a:bodyPr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9721" y="3873195"/>
            <a:ext cx="4671827" cy="873868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nl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53A41C6-115B-4C37-B753-85FE96DA63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8" name="Platshållare för bildnummer 7">
            <a:extLst>
              <a:ext uri="{FF2B5EF4-FFF2-40B4-BE49-F238E27FC236}">
                <a16:creationId xmlns:a16="http://schemas.microsoft.com/office/drawing/2014/main" id="{9FDAF643-70C9-49FD-9A46-643A8ACC92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06B0CF-28DA-4AF7-AD0B-CB9D5901F647}" type="slidenum">
              <a:rPr lang="sv-SE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sv-SE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9" name="Platshållare för text 11">
            <a:extLst>
              <a:ext uri="{FF2B5EF4-FFF2-40B4-BE49-F238E27FC236}">
                <a16:creationId xmlns:a16="http://schemas.microsoft.com/office/drawing/2014/main" id="{3F77ADDB-FEA9-4C18-8D4E-716FF5A169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6762" y="6585431"/>
            <a:ext cx="10659600" cy="124650"/>
          </a:xfrm>
        </p:spPr>
        <p:txBody>
          <a:bodyPr anchor="b">
            <a:spAutoFit/>
          </a:bodyPr>
          <a:lstStyle>
            <a:lvl1pPr marL="0" indent="0">
              <a:buNone/>
              <a:defRPr sz="900">
                <a:solidFill>
                  <a:schemeClr val="bg2">
                    <a:lumMod val="75000"/>
                  </a:schemeClr>
                </a:solidFill>
              </a:defRPr>
            </a:lvl1pPr>
            <a:lvl2pPr marL="182562" indent="0">
              <a:buNone/>
              <a:defRPr/>
            </a:lvl2pPr>
          </a:lstStyle>
          <a:p>
            <a:pPr lvl="0"/>
            <a:r>
              <a:rPr lang="sv-SE" err="1"/>
              <a:t>References</a:t>
            </a:r>
            <a:endParaRPr lang="sv-SE"/>
          </a:p>
        </p:txBody>
      </p:sp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-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latshållare för bild 65">
            <a:extLst>
              <a:ext uri="{FF2B5EF4-FFF2-40B4-BE49-F238E27FC236}">
                <a16:creationId xmlns:a16="http://schemas.microsoft.com/office/drawing/2014/main" id="{09791C55-72D3-4450-917F-90D7845D4C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540004"/>
            <a:ext cx="12191998" cy="6317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Underrubrik 2">
            <a:extLst>
              <a:ext uri="{FF2B5EF4-FFF2-40B4-BE49-F238E27FC236}">
                <a16:creationId xmlns:a16="http://schemas.microsoft.com/office/drawing/2014/main" id="{BB164291-5C0A-4431-8904-0C6D2C1410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66714" y="5412376"/>
            <a:ext cx="3265488" cy="783772"/>
          </a:xfrm>
        </p:spPr>
        <p:txBody>
          <a:bodyPr anchor="ctr">
            <a:norm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50" name="Platshållare för text 16">
            <a:extLst>
              <a:ext uri="{FF2B5EF4-FFF2-40B4-BE49-F238E27FC236}">
                <a16:creationId xmlns:a16="http://schemas.microsoft.com/office/drawing/2014/main" id="{351C647C-20C4-4484-8B20-0A940446797A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057050" y="5548993"/>
            <a:ext cx="510539" cy="510539"/>
          </a:xfrm>
          <a:custGeom>
            <a:avLst/>
            <a:gdLst>
              <a:gd name="connsiteX0" fmla="*/ 362857 w 725714"/>
              <a:gd name="connsiteY0" fmla="*/ 0 h 725714"/>
              <a:gd name="connsiteX1" fmla="*/ 725714 w 725714"/>
              <a:gd name="connsiteY1" fmla="*/ 362857 h 725714"/>
              <a:gd name="connsiteX2" fmla="*/ 362857 w 725714"/>
              <a:gd name="connsiteY2" fmla="*/ 725714 h 725714"/>
              <a:gd name="connsiteX3" fmla="*/ 0 w 725714"/>
              <a:gd name="connsiteY3" fmla="*/ 362857 h 725714"/>
              <a:gd name="connsiteX4" fmla="*/ 362857 w 725714"/>
              <a:gd name="connsiteY4" fmla="*/ 0 h 725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714" h="725714">
                <a:moveTo>
                  <a:pt x="362857" y="0"/>
                </a:moveTo>
                <a:cubicBezTo>
                  <a:pt x="563257" y="0"/>
                  <a:pt x="725714" y="162457"/>
                  <a:pt x="725714" y="362857"/>
                </a:cubicBezTo>
                <a:cubicBezTo>
                  <a:pt x="725714" y="563257"/>
                  <a:pt x="563257" y="725714"/>
                  <a:pt x="362857" y="725714"/>
                </a:cubicBezTo>
                <a:cubicBezTo>
                  <a:pt x="162457" y="725714"/>
                  <a:pt x="0" y="563257"/>
                  <a:pt x="0" y="362857"/>
                </a:cubicBezTo>
                <a:cubicBezTo>
                  <a:pt x="0" y="162457"/>
                  <a:pt x="162457" y="0"/>
                  <a:pt x="362857" y="0"/>
                </a:cubicBezTo>
                <a:close/>
              </a:path>
            </a:pathLst>
          </a:custGeom>
          <a:solidFill>
            <a:schemeClr val="accent1">
              <a:alpha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</a:p>
        </p:txBody>
      </p:sp>
      <p:sp>
        <p:nvSpPr>
          <p:cNvPr id="12" name="Rubrik 11">
            <a:extLst>
              <a:ext uri="{FF2B5EF4-FFF2-40B4-BE49-F238E27FC236}">
                <a16:creationId xmlns:a16="http://schemas.microsoft.com/office/drawing/2014/main" id="{53FE9DF3-5084-4B08-9B7C-DE0BD65AF9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1143" y="1364572"/>
            <a:ext cx="3182258" cy="365918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1"/>
            <a:tileRect/>
          </a:gradFill>
        </p:spPr>
        <p:txBody>
          <a:bodyPr wrap="square" lIns="216000" tIns="108000" rIns="612000" bIns="108000" anchor="ctr" anchorCtr="1">
            <a:noAutofit/>
          </a:bodyPr>
          <a:lstStyle>
            <a:lvl1pPr algn="ctr">
              <a:defRPr sz="3400" b="1">
                <a:solidFill>
                  <a:schemeClr val="bg1"/>
                </a:solidFill>
              </a:defRPr>
            </a:lvl1pPr>
          </a:lstStyle>
          <a:p>
            <a:r>
              <a:rPr lang="sv-SE" err="1"/>
              <a:t>Title</a:t>
            </a:r>
            <a:endParaRPr lang="sv-SE"/>
          </a:p>
        </p:txBody>
      </p:sp>
      <p:sp>
        <p:nvSpPr>
          <p:cNvPr id="13" name="Platshållare för text 6">
            <a:extLst>
              <a:ext uri="{FF2B5EF4-FFF2-40B4-BE49-F238E27FC236}">
                <a16:creationId xmlns:a16="http://schemas.microsoft.com/office/drawing/2014/main" id="{710B371E-DEBF-4CE2-879A-1206B83182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96630" y="4567238"/>
            <a:ext cx="1915200" cy="311150"/>
          </a:xfrm>
          <a:blipFill>
            <a:blip r:embed="rId2"/>
            <a:stretch>
              <a:fillRect/>
            </a:stretch>
          </a:blipFill>
        </p:spPr>
        <p:txBody>
          <a:bodyPr wrap="non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A77CA6DC-4C83-4253-9506-1A6C00544C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6766" y="1364571"/>
            <a:ext cx="394377" cy="3659186"/>
          </a:xfrm>
          <a:custGeom>
            <a:avLst/>
            <a:gdLst>
              <a:gd name="connsiteX0" fmla="*/ 0 w 394377"/>
              <a:gd name="connsiteY0" fmla="*/ 0 h 3659186"/>
              <a:gd name="connsiteX1" fmla="*/ 394377 w 394377"/>
              <a:gd name="connsiteY1" fmla="*/ 0 h 3659186"/>
              <a:gd name="connsiteX2" fmla="*/ 394377 w 394377"/>
              <a:gd name="connsiteY2" fmla="*/ 3659186 h 3659186"/>
              <a:gd name="connsiteX3" fmla="*/ 0 w 394377"/>
              <a:gd name="connsiteY3" fmla="*/ 3659186 h 3659186"/>
              <a:gd name="connsiteX4" fmla="*/ 0 w 394377"/>
              <a:gd name="connsiteY4" fmla="*/ 649528 h 3659186"/>
              <a:gd name="connsiteX5" fmla="*/ 32529 w 394377"/>
              <a:gd name="connsiteY5" fmla="*/ 639431 h 3659186"/>
              <a:gd name="connsiteX6" fmla="*/ 188436 w 394377"/>
              <a:gd name="connsiteY6" fmla="*/ 404222 h 3659186"/>
              <a:gd name="connsiteX7" fmla="*/ 32529 w 394377"/>
              <a:gd name="connsiteY7" fmla="*/ 169012 h 3659186"/>
              <a:gd name="connsiteX8" fmla="*/ 0 w 394377"/>
              <a:gd name="connsiteY8" fmla="*/ 158915 h 365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377" h="3659186">
                <a:moveTo>
                  <a:pt x="0" y="0"/>
                </a:moveTo>
                <a:lnTo>
                  <a:pt x="394377" y="0"/>
                </a:lnTo>
                <a:lnTo>
                  <a:pt x="394377" y="3659186"/>
                </a:lnTo>
                <a:lnTo>
                  <a:pt x="0" y="3659186"/>
                </a:lnTo>
                <a:lnTo>
                  <a:pt x="0" y="649528"/>
                </a:lnTo>
                <a:lnTo>
                  <a:pt x="32529" y="639431"/>
                </a:lnTo>
                <a:cubicBezTo>
                  <a:pt x="124149" y="600679"/>
                  <a:pt x="188436" y="509958"/>
                  <a:pt x="188436" y="404222"/>
                </a:cubicBezTo>
                <a:cubicBezTo>
                  <a:pt x="188436" y="298486"/>
                  <a:pt x="124149" y="207765"/>
                  <a:pt x="32529" y="169012"/>
                </a:cubicBezTo>
                <a:lnTo>
                  <a:pt x="0" y="15891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1"/>
          </a:gradFill>
        </p:spPr>
        <p:txBody>
          <a:bodyPr wrap="non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</a:p>
        </p:txBody>
      </p:sp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579A9A6-96CD-4BF8-9626-4810709B788D}" type="datetimeFigureOut">
              <a:rPr lang="en-GB" smtClean="0">
                <a:solidFill>
                  <a:srgbClr val="333333">
                    <a:tint val="75000"/>
                  </a:srgbClr>
                </a:solidFill>
              </a:rPr>
              <a:pPr/>
              <a:t>02/02/2024</a:t>
            </a:fld>
            <a:endParaRPr lang="en-GB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003D8D9-C2E2-4F0E-B28F-64B14EADB18F}" type="slidenum">
              <a:rPr lang="en-GB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333333">
                  <a:tint val="75000"/>
                </a:srgbClr>
              </a:solidFill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88C69-51BD-0E46-8568-07D1E46FBB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573" y="171170"/>
            <a:ext cx="10515600" cy="711116"/>
          </a:xfrm>
        </p:spPr>
        <p:txBody>
          <a:bodyPr anchor="ctr">
            <a:normAutofit/>
          </a:bodyPr>
          <a:lstStyle>
            <a:lvl1pPr>
              <a:defRPr sz="2800" b="1" cap="all" baseline="0">
                <a:solidFill>
                  <a:srgbClr val="5E6C85"/>
                </a:solidFill>
              </a:defRPr>
            </a:lvl1pPr>
          </a:lstStyle>
          <a:p>
            <a:r>
              <a:rPr lang="en-GB"/>
              <a:t>Slide title text goes her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1F7C6-44D6-AB4A-A65B-07A960EA08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573" y="1825625"/>
            <a:ext cx="10515600" cy="37628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500">
                <a:solidFill>
                  <a:srgbClr val="5E6C85"/>
                </a:solidFill>
              </a:defRPr>
            </a:lvl1pPr>
            <a:lvl2pPr marL="4572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2D1E0FA-552B-C34A-97F3-89E57BBCEF9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5573" y="1145616"/>
            <a:ext cx="8051800" cy="541338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700">
                <a:solidFill>
                  <a:srgbClr val="00698C"/>
                </a:solidFill>
              </a:defRPr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Slide sub title text goes he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F17DE5B-F7C1-1A49-BDD4-95340CCB72C3}"/>
              </a:ext>
            </a:extLst>
          </p:cNvPr>
          <p:cNvSpPr/>
          <p:nvPr userDrawn="1"/>
        </p:nvSpPr>
        <p:spPr>
          <a:xfrm>
            <a:off x="0" y="6225236"/>
            <a:ext cx="12192000" cy="6327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82C8130-016A-F846-AE0F-5AB3B1CEDA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3926" y="256717"/>
            <a:ext cx="1667348" cy="83367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01A03A2-9211-5D4B-9D25-10DB509DE700}"/>
              </a:ext>
            </a:extLst>
          </p:cNvPr>
          <p:cNvCxnSpPr>
            <a:cxnSpLocks/>
          </p:cNvCxnSpPr>
          <p:nvPr userDrawn="1"/>
        </p:nvCxnSpPr>
        <p:spPr>
          <a:xfrm>
            <a:off x="-6601" y="6566351"/>
            <a:ext cx="12198601" cy="0"/>
          </a:xfrm>
          <a:prstGeom prst="line">
            <a:avLst/>
          </a:prstGeom>
          <a:ln w="25400">
            <a:gradFill>
              <a:gsLst>
                <a:gs pos="23000">
                  <a:srgbClr val="194782"/>
                </a:gs>
                <a:gs pos="99000">
                  <a:srgbClr val="5E6C85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21433A0-806D-4448-BD5F-A9BCFC650649}"/>
              </a:ext>
            </a:extLst>
          </p:cNvPr>
          <p:cNvCxnSpPr>
            <a:cxnSpLocks/>
          </p:cNvCxnSpPr>
          <p:nvPr userDrawn="1"/>
        </p:nvCxnSpPr>
        <p:spPr>
          <a:xfrm>
            <a:off x="0" y="1094328"/>
            <a:ext cx="864000" cy="0"/>
          </a:xfrm>
          <a:prstGeom prst="line">
            <a:avLst/>
          </a:prstGeom>
          <a:ln w="25400">
            <a:gradFill>
              <a:gsLst>
                <a:gs pos="23000">
                  <a:srgbClr val="194782"/>
                </a:gs>
                <a:gs pos="99000">
                  <a:srgbClr val="5E6C85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B6AEC0D-B963-464A-82DC-BCA316188F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5449" y="6381946"/>
            <a:ext cx="10800000" cy="173853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/>
              <a:t>Footnotes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30E8B2-4C2D-49FA-B16A-4A5DC8A1A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508" y="699582"/>
            <a:ext cx="10950420" cy="940305"/>
          </a:xfrm>
        </p:spPr>
        <p:txBody>
          <a:bodyPr>
            <a:normAutofit/>
          </a:bodyPr>
          <a:lstStyle>
            <a:lvl1pPr>
              <a:defRPr sz="3600">
                <a:solidFill>
                  <a:srgbClr val="007DA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7F2103-9A57-4B55-A067-6EBD787D35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509" y="1757543"/>
            <a:ext cx="10950419" cy="422029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ED553-C422-4B9E-813D-458DFA7408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69A137-6BDB-47B4-8B9B-30BE2E63C07B}" type="slidenum">
              <a:rPr lang="en-US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A3CC0E8-9D49-42A6-B966-3FA7835666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9507" y="6279132"/>
            <a:ext cx="10515599" cy="3136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44546A"/>
                </a:solidFill>
              </a:rPr>
              <a:t>Referenc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32389801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63ADD123-CF65-473C-A0EE-A1C55ECB0B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7" t="25417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Text&#10;&#10;Description automatically generated">
            <a:extLst>
              <a:ext uri="{FF2B5EF4-FFF2-40B4-BE49-F238E27FC236}">
                <a16:creationId xmlns:a16="http://schemas.microsoft.com/office/drawing/2014/main" id="{A5F54CF2-A554-458A-B812-73CFB270A7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93000" y="901700"/>
            <a:ext cx="4290944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93000" y="3429000"/>
            <a:ext cx="4290944" cy="10609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F638119B-DA72-429D-B50D-F2BF8D9949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7" t="26453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Text&#10;&#10;Description automatically generated">
            <a:extLst>
              <a:ext uri="{FF2B5EF4-FFF2-40B4-BE49-F238E27FC236}">
                <a16:creationId xmlns:a16="http://schemas.microsoft.com/office/drawing/2014/main" id="{4A0F2C23-8209-48CA-A67C-85D1C798A6E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901700"/>
            <a:ext cx="4290944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97280" y="3429000"/>
            <a:ext cx="4290944" cy="10609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 w/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679921A0-FB50-4144-A6BB-7AFFE9C046B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7" t="26453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Text&#10;&#10;Description automatically generated">
            <a:extLst>
              <a:ext uri="{FF2B5EF4-FFF2-40B4-BE49-F238E27FC236}">
                <a16:creationId xmlns:a16="http://schemas.microsoft.com/office/drawing/2014/main" id="{C40D1FAB-BAE6-45DB-B5EC-6D54361DB8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93000" y="2909668"/>
            <a:ext cx="4290944" cy="600559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493000" y="3618621"/>
            <a:ext cx="4291013" cy="151958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chemeClr val="tx2"/>
                </a:solidFill>
              </a:defRPr>
            </a:lvl2pPr>
            <a:lvl3pPr marL="914400" indent="0">
              <a:buNone/>
              <a:defRPr sz="1400">
                <a:solidFill>
                  <a:schemeClr val="tx2"/>
                </a:solidFill>
              </a:defRPr>
            </a:lvl3pPr>
            <a:lvl4pPr marL="1371600" indent="0">
              <a:buNone/>
              <a:defRPr sz="1400">
                <a:solidFill>
                  <a:schemeClr val="tx2"/>
                </a:solidFill>
              </a:defRPr>
            </a:lvl4pPr>
            <a:lvl5pPr marL="1828800" indent="0"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6051" y="1456531"/>
            <a:ext cx="4376061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er 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CF28003-D125-4B04-9F3A-C5A0F24F0C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295900" cy="4586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 descr="Text&#10;&#10;Description automatically generated">
            <a:extLst>
              <a:ext uri="{FF2B5EF4-FFF2-40B4-BE49-F238E27FC236}">
                <a16:creationId xmlns:a16="http://schemas.microsoft.com/office/drawing/2014/main" id="{B0E7503D-D419-4203-92C9-358C16DADB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5995089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794" y="1440630"/>
            <a:ext cx="380386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0728" y="1676400"/>
            <a:ext cx="4997672" cy="3869932"/>
          </a:xfrm>
        </p:spPr>
        <p:txBody>
          <a:bodyPr lIns="0" tIns="0" rIns="0" bIns="0">
            <a:normAutofit/>
          </a:bodyPr>
          <a:lstStyle>
            <a:lvl1pPr marL="119063" indent="-119063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4488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1500" indent="-10636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0288" indent="-109538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2" y="6509189"/>
            <a:ext cx="9056980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443091-F422-4ABA-93B1-89E089D73A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DDAD4091-7095-485D-8839-ABCB2893A5CC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FA0D43D-7E8D-4478-9AD0-5563FCEB2C7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74BC9767-F9D5-41EB-807E-DC5B086A71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F57E4C2-4E2E-4C68-A6E3-FAF916FF4EEF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8" descr="Text&#10;&#10;Description automatically generated">
            <a:extLst>
              <a:ext uri="{FF2B5EF4-FFF2-40B4-BE49-F238E27FC236}">
                <a16:creationId xmlns:a16="http://schemas.microsoft.com/office/drawing/2014/main" id="{85F36345-8389-4A4B-9B9D-5ECDBCCEEF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1701" y="1345851"/>
            <a:ext cx="11064241" cy="4351338"/>
          </a:xfrm>
        </p:spPr>
        <p:txBody>
          <a:bodyPr lIns="0" tIns="0" rIns="0" bIns="0">
            <a:normAutofit/>
          </a:bodyPr>
          <a:lstStyle>
            <a:lvl1pPr marL="115888" indent="-11588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4488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3088" indent="-107950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1688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0288" indent="-109538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2" y="6571559"/>
            <a:ext cx="9056979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EDBE443-B7AD-4CAB-98D8-44446BBD88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CBAE0B00-DA62-4F9A-9905-D132485A9ACB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06F0C37-802E-4CF0-8D09-7DF3250F00A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Slide_Un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F5ABB67A-C3F1-4B21-B295-168A898402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8C74A00-9BDB-4434-B681-3D214BCD450F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8" descr="Text&#10;&#10;Description automatically generated">
            <a:extLst>
              <a:ext uri="{FF2B5EF4-FFF2-40B4-BE49-F238E27FC236}">
                <a16:creationId xmlns:a16="http://schemas.microsoft.com/office/drawing/2014/main" id="{78AA31BD-A6D4-499D-8334-63477D9FDB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1701" y="1346456"/>
            <a:ext cx="11064241" cy="4351338"/>
          </a:xfrm>
        </p:spPr>
        <p:txBody>
          <a:bodyPr lIns="0" tIns="0" rIns="0" bIns="0">
            <a:normAutofit/>
          </a:bodyPr>
          <a:lstStyle>
            <a:lvl1pPr marL="114300" indent="-1143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6075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6263" indent="-111125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1688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1875" indent="-111125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1" y="6509189"/>
            <a:ext cx="9471299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DEFE44C-51FE-4E52-8F4A-5DD92DBFCF7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AB947943-C606-4ED7-BDDC-8188EAA33D75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6B71D7-CCDB-4FAF-B212-A505573354A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2 Content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C909890B-1AAC-493C-BD56-63278A49C72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3735EA9-0DB8-4B5C-B1C5-5F42A4313C9A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8" descr="Text&#10;&#10;Description automatically generated">
            <a:extLst>
              <a:ext uri="{FF2B5EF4-FFF2-40B4-BE49-F238E27FC236}">
                <a16:creationId xmlns:a16="http://schemas.microsoft.com/office/drawing/2014/main" id="{D8FD1FC9-CA93-458A-BF9C-55859FE9D0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12341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0" y="210312"/>
            <a:ext cx="10515600" cy="850392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1700" y="1346456"/>
            <a:ext cx="4937760" cy="4351338"/>
          </a:xfrm>
        </p:spPr>
        <p:txBody>
          <a:bodyPr lIns="0" tIns="0" rIns="0" bIns="0">
            <a:normAutofit/>
          </a:bodyPr>
          <a:lstStyle>
            <a:lvl1pPr marL="122238" indent="-12223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9250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7850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3463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6139542" y="1346456"/>
            <a:ext cx="4937760" cy="4351338"/>
          </a:xfrm>
        </p:spPr>
        <p:txBody>
          <a:bodyPr lIns="0" tIns="0" rIns="0" bIns="0">
            <a:normAutofit/>
          </a:bodyPr>
          <a:lstStyle>
            <a:lvl1pPr marL="122238" indent="-12223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9250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7850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22238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3463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699" y="6571559"/>
            <a:ext cx="9051521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DE03FDF-9AA2-44EC-8CCC-FBD59577F1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9725" y="6462713"/>
            <a:ext cx="277813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A3DA53F4-57F0-48B1-9791-7EE34C979161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68A1770-BD92-482E-A50D-6560C7F6028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C2ED7D8D-4CFF-4687-832E-D7564B066A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6E0F5A6-FDDE-4DBB-AB41-0F3FE5925F1A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8" descr="Text&#10;&#10;Description automatically generated">
            <a:extLst>
              <a:ext uri="{FF2B5EF4-FFF2-40B4-BE49-F238E27FC236}">
                <a16:creationId xmlns:a16="http://schemas.microsoft.com/office/drawing/2014/main" id="{5E5DCD8F-F7BD-4AFC-BC2B-282A2C03509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2" y="6509189"/>
            <a:ext cx="9056980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E09261-9E53-423B-BE45-8BC02FEF017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6995DCC3-C1E0-4209-B893-2DE21D125AC3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855E7A-DDFB-465A-B094-14CD82EF6D8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Text&#10;&#10;Description automatically generated">
            <a:extLst>
              <a:ext uri="{FF2B5EF4-FFF2-40B4-BE49-F238E27FC236}">
                <a16:creationId xmlns:a16="http://schemas.microsoft.com/office/drawing/2014/main" id="{73DE7B9A-B217-4157-99FD-D58D616A73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1ADD0E-539A-4505-BCB8-0C71E7B770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11695EF4-6BAA-480B-B516-B23915D9AC24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8DECD5-88FD-4DC2-B8D1-6EDE10385F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247904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Text&#10;&#10;Description automatically generated">
            <a:extLst>
              <a:ext uri="{FF2B5EF4-FFF2-40B4-BE49-F238E27FC236}">
                <a16:creationId xmlns:a16="http://schemas.microsoft.com/office/drawing/2014/main" id="{1655A344-D7FA-498E-BFDF-393C0C3E02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0456D4C-9315-4F2B-9EB6-9B2A5962E50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8BA1A8DB-8491-4E55-BBF7-843859B073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7" t="26453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>
            <a:extLst>
              <a:ext uri="{FF2B5EF4-FFF2-40B4-BE49-F238E27FC236}">
                <a16:creationId xmlns:a16="http://schemas.microsoft.com/office/drawing/2014/main" id="{702E6477-E956-4D79-BC73-8786B59E81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138" y="631825"/>
            <a:ext cx="168910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 descr="Text&#10;&#10;Description automatically generated">
            <a:extLst>
              <a:ext uri="{FF2B5EF4-FFF2-40B4-BE49-F238E27FC236}">
                <a16:creationId xmlns:a16="http://schemas.microsoft.com/office/drawing/2014/main" id="{DE8D4E1F-B643-4285-8F5D-0982DE20A5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9721" y="1522752"/>
            <a:ext cx="4671827" cy="2149274"/>
          </a:xfrm>
        </p:spPr>
        <p:txBody>
          <a:bodyPr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9721" y="3873195"/>
            <a:ext cx="4671827" cy="873868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nl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53A41C6-115B-4C37-B753-85FE96DA63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8" name="Platshållare för bildnummer 7">
            <a:extLst>
              <a:ext uri="{FF2B5EF4-FFF2-40B4-BE49-F238E27FC236}">
                <a16:creationId xmlns:a16="http://schemas.microsoft.com/office/drawing/2014/main" id="{9FDAF643-70C9-49FD-9A46-643A8ACC92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06B0CF-28DA-4AF7-AD0B-CB9D5901F647}" type="slidenum">
              <a:rPr lang="sv-SE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sv-SE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9" name="Platshållare för text 11">
            <a:extLst>
              <a:ext uri="{FF2B5EF4-FFF2-40B4-BE49-F238E27FC236}">
                <a16:creationId xmlns:a16="http://schemas.microsoft.com/office/drawing/2014/main" id="{3F77ADDB-FEA9-4C18-8D4E-716FF5A169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6762" y="6585431"/>
            <a:ext cx="10659600" cy="124650"/>
          </a:xfrm>
        </p:spPr>
        <p:txBody>
          <a:bodyPr anchor="b">
            <a:spAutoFit/>
          </a:bodyPr>
          <a:lstStyle>
            <a:lvl1pPr marL="0" indent="0">
              <a:buNone/>
              <a:defRPr sz="900">
                <a:solidFill>
                  <a:schemeClr val="bg2">
                    <a:lumMod val="75000"/>
                  </a:schemeClr>
                </a:solidFill>
              </a:defRPr>
            </a:lvl1pPr>
            <a:lvl2pPr marL="182562" indent="0">
              <a:buNone/>
              <a:defRPr/>
            </a:lvl2pPr>
          </a:lstStyle>
          <a:p>
            <a:pPr lvl="0"/>
            <a:r>
              <a:rPr lang="sv-SE" err="1"/>
              <a:t>References</a:t>
            </a:r>
            <a:endParaRPr lang="sv-SE"/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3F31501-C11D-4735-89C9-6EA10362AC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8" name="Rubrik 7">
            <a:extLst>
              <a:ext uri="{FF2B5EF4-FFF2-40B4-BE49-F238E27FC236}">
                <a16:creationId xmlns:a16="http://schemas.microsoft.com/office/drawing/2014/main" id="{F98502F9-C858-4602-98B4-ADB04E6C42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0" name="Platshållare för bildnummer 9">
            <a:extLst>
              <a:ext uri="{FF2B5EF4-FFF2-40B4-BE49-F238E27FC236}">
                <a16:creationId xmlns:a16="http://schemas.microsoft.com/office/drawing/2014/main" id="{028F6DB5-8B02-4882-AA7D-C2EAB98694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06B0CF-28DA-4AF7-AD0B-CB9D5901F647}" type="slidenum">
              <a:rPr lang="sv-SE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sv-SE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BA23B167-3C1F-40B1-8D58-4A9EE26435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6762" y="6585431"/>
            <a:ext cx="10659600" cy="124650"/>
          </a:xfrm>
        </p:spPr>
        <p:txBody>
          <a:bodyPr anchor="b">
            <a:spAutoFit/>
          </a:bodyPr>
          <a:lstStyle>
            <a:lvl1pPr marL="0" indent="0">
              <a:buNone/>
              <a:defRPr sz="900">
                <a:solidFill>
                  <a:schemeClr val="bg2">
                    <a:lumMod val="75000"/>
                  </a:schemeClr>
                </a:solidFill>
              </a:defRPr>
            </a:lvl1pPr>
            <a:lvl2pPr marL="182562" indent="0">
              <a:buNone/>
              <a:defRPr/>
            </a:lvl2pPr>
          </a:lstStyle>
          <a:p>
            <a:pPr lvl="0"/>
            <a:r>
              <a:rPr lang="sv-SE" err="1"/>
              <a:t>References</a:t>
            </a:r>
            <a:endParaRPr lang="sv-SE"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-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latshållare för bild 65">
            <a:extLst>
              <a:ext uri="{FF2B5EF4-FFF2-40B4-BE49-F238E27FC236}">
                <a16:creationId xmlns:a16="http://schemas.microsoft.com/office/drawing/2014/main" id="{09791C55-72D3-4450-917F-90D7845D4C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540004"/>
            <a:ext cx="12191998" cy="6317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Underrubrik 2">
            <a:extLst>
              <a:ext uri="{FF2B5EF4-FFF2-40B4-BE49-F238E27FC236}">
                <a16:creationId xmlns:a16="http://schemas.microsoft.com/office/drawing/2014/main" id="{BB164291-5C0A-4431-8904-0C6D2C1410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66714" y="5412376"/>
            <a:ext cx="3265488" cy="783772"/>
          </a:xfrm>
        </p:spPr>
        <p:txBody>
          <a:bodyPr anchor="ctr">
            <a:norm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50" name="Platshållare för text 16">
            <a:extLst>
              <a:ext uri="{FF2B5EF4-FFF2-40B4-BE49-F238E27FC236}">
                <a16:creationId xmlns:a16="http://schemas.microsoft.com/office/drawing/2014/main" id="{351C647C-20C4-4484-8B20-0A940446797A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057050" y="5548993"/>
            <a:ext cx="510539" cy="510539"/>
          </a:xfrm>
          <a:custGeom>
            <a:avLst/>
            <a:gdLst>
              <a:gd name="connsiteX0" fmla="*/ 362857 w 725714"/>
              <a:gd name="connsiteY0" fmla="*/ 0 h 725714"/>
              <a:gd name="connsiteX1" fmla="*/ 725714 w 725714"/>
              <a:gd name="connsiteY1" fmla="*/ 362857 h 725714"/>
              <a:gd name="connsiteX2" fmla="*/ 362857 w 725714"/>
              <a:gd name="connsiteY2" fmla="*/ 725714 h 725714"/>
              <a:gd name="connsiteX3" fmla="*/ 0 w 725714"/>
              <a:gd name="connsiteY3" fmla="*/ 362857 h 725714"/>
              <a:gd name="connsiteX4" fmla="*/ 362857 w 725714"/>
              <a:gd name="connsiteY4" fmla="*/ 0 h 725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714" h="725714">
                <a:moveTo>
                  <a:pt x="362857" y="0"/>
                </a:moveTo>
                <a:cubicBezTo>
                  <a:pt x="563257" y="0"/>
                  <a:pt x="725714" y="162457"/>
                  <a:pt x="725714" y="362857"/>
                </a:cubicBezTo>
                <a:cubicBezTo>
                  <a:pt x="725714" y="563257"/>
                  <a:pt x="563257" y="725714"/>
                  <a:pt x="362857" y="725714"/>
                </a:cubicBezTo>
                <a:cubicBezTo>
                  <a:pt x="162457" y="725714"/>
                  <a:pt x="0" y="563257"/>
                  <a:pt x="0" y="362857"/>
                </a:cubicBezTo>
                <a:cubicBezTo>
                  <a:pt x="0" y="162457"/>
                  <a:pt x="162457" y="0"/>
                  <a:pt x="362857" y="0"/>
                </a:cubicBezTo>
                <a:close/>
              </a:path>
            </a:pathLst>
          </a:custGeom>
          <a:solidFill>
            <a:schemeClr val="accent1">
              <a:alpha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</a:p>
        </p:txBody>
      </p:sp>
      <p:sp>
        <p:nvSpPr>
          <p:cNvPr id="12" name="Rubrik 11">
            <a:extLst>
              <a:ext uri="{FF2B5EF4-FFF2-40B4-BE49-F238E27FC236}">
                <a16:creationId xmlns:a16="http://schemas.microsoft.com/office/drawing/2014/main" id="{53FE9DF3-5084-4B08-9B7C-DE0BD65AF9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1143" y="1364572"/>
            <a:ext cx="3182258" cy="365918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1"/>
            <a:tileRect/>
          </a:gradFill>
        </p:spPr>
        <p:txBody>
          <a:bodyPr wrap="square" lIns="216000" tIns="108000" rIns="612000" bIns="108000" anchor="ctr" anchorCtr="1">
            <a:noAutofit/>
          </a:bodyPr>
          <a:lstStyle>
            <a:lvl1pPr algn="ctr">
              <a:defRPr sz="3400" b="1">
                <a:solidFill>
                  <a:schemeClr val="bg1"/>
                </a:solidFill>
              </a:defRPr>
            </a:lvl1pPr>
          </a:lstStyle>
          <a:p>
            <a:r>
              <a:rPr lang="sv-SE" err="1"/>
              <a:t>Title</a:t>
            </a:r>
            <a:endParaRPr lang="sv-SE"/>
          </a:p>
        </p:txBody>
      </p:sp>
      <p:sp>
        <p:nvSpPr>
          <p:cNvPr id="13" name="Platshållare för text 6">
            <a:extLst>
              <a:ext uri="{FF2B5EF4-FFF2-40B4-BE49-F238E27FC236}">
                <a16:creationId xmlns:a16="http://schemas.microsoft.com/office/drawing/2014/main" id="{710B371E-DEBF-4CE2-879A-1206B83182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96630" y="4567238"/>
            <a:ext cx="1915200" cy="311150"/>
          </a:xfrm>
          <a:blipFill>
            <a:blip r:embed="rId2"/>
            <a:stretch>
              <a:fillRect/>
            </a:stretch>
          </a:blipFill>
        </p:spPr>
        <p:txBody>
          <a:bodyPr wrap="non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A77CA6DC-4C83-4253-9506-1A6C00544C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6766" y="1364571"/>
            <a:ext cx="394377" cy="3659186"/>
          </a:xfrm>
          <a:custGeom>
            <a:avLst/>
            <a:gdLst>
              <a:gd name="connsiteX0" fmla="*/ 0 w 394377"/>
              <a:gd name="connsiteY0" fmla="*/ 0 h 3659186"/>
              <a:gd name="connsiteX1" fmla="*/ 394377 w 394377"/>
              <a:gd name="connsiteY1" fmla="*/ 0 h 3659186"/>
              <a:gd name="connsiteX2" fmla="*/ 394377 w 394377"/>
              <a:gd name="connsiteY2" fmla="*/ 3659186 h 3659186"/>
              <a:gd name="connsiteX3" fmla="*/ 0 w 394377"/>
              <a:gd name="connsiteY3" fmla="*/ 3659186 h 3659186"/>
              <a:gd name="connsiteX4" fmla="*/ 0 w 394377"/>
              <a:gd name="connsiteY4" fmla="*/ 649528 h 3659186"/>
              <a:gd name="connsiteX5" fmla="*/ 32529 w 394377"/>
              <a:gd name="connsiteY5" fmla="*/ 639431 h 3659186"/>
              <a:gd name="connsiteX6" fmla="*/ 188436 w 394377"/>
              <a:gd name="connsiteY6" fmla="*/ 404222 h 3659186"/>
              <a:gd name="connsiteX7" fmla="*/ 32529 w 394377"/>
              <a:gd name="connsiteY7" fmla="*/ 169012 h 3659186"/>
              <a:gd name="connsiteX8" fmla="*/ 0 w 394377"/>
              <a:gd name="connsiteY8" fmla="*/ 158915 h 365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377" h="3659186">
                <a:moveTo>
                  <a:pt x="0" y="0"/>
                </a:moveTo>
                <a:lnTo>
                  <a:pt x="394377" y="0"/>
                </a:lnTo>
                <a:lnTo>
                  <a:pt x="394377" y="3659186"/>
                </a:lnTo>
                <a:lnTo>
                  <a:pt x="0" y="3659186"/>
                </a:lnTo>
                <a:lnTo>
                  <a:pt x="0" y="649528"/>
                </a:lnTo>
                <a:lnTo>
                  <a:pt x="32529" y="639431"/>
                </a:lnTo>
                <a:cubicBezTo>
                  <a:pt x="124149" y="600679"/>
                  <a:pt x="188436" y="509958"/>
                  <a:pt x="188436" y="404222"/>
                </a:cubicBezTo>
                <a:cubicBezTo>
                  <a:pt x="188436" y="298486"/>
                  <a:pt x="124149" y="207765"/>
                  <a:pt x="32529" y="169012"/>
                </a:cubicBezTo>
                <a:lnTo>
                  <a:pt x="0" y="15891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1"/>
          </a:gradFill>
        </p:spPr>
        <p:txBody>
          <a:bodyPr wrap="non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</a:p>
        </p:txBody>
      </p:sp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579A9A6-96CD-4BF8-9626-4810709B788D}" type="datetimeFigureOut">
              <a:rPr lang="en-GB" smtClean="0">
                <a:solidFill>
                  <a:srgbClr val="333333">
                    <a:tint val="75000"/>
                  </a:srgbClr>
                </a:solidFill>
              </a:rPr>
              <a:pPr/>
              <a:t>02/02/2024</a:t>
            </a:fld>
            <a:endParaRPr lang="en-GB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003D8D9-C2E2-4F0E-B28F-64B14EADB18F}" type="slidenum">
              <a:rPr lang="en-GB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333333">
                  <a:tint val="75000"/>
                </a:srgbClr>
              </a:solidFill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88C69-51BD-0E46-8568-07D1E46FBB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5573" y="171170"/>
            <a:ext cx="10515600" cy="711116"/>
          </a:xfrm>
        </p:spPr>
        <p:txBody>
          <a:bodyPr anchor="ctr">
            <a:normAutofit/>
          </a:bodyPr>
          <a:lstStyle>
            <a:lvl1pPr>
              <a:defRPr sz="2800" b="1" cap="all" baseline="0">
                <a:solidFill>
                  <a:srgbClr val="5E6C85"/>
                </a:solidFill>
              </a:defRPr>
            </a:lvl1pPr>
          </a:lstStyle>
          <a:p>
            <a:r>
              <a:rPr lang="en-GB"/>
              <a:t>Slide title text goes her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011F7C6-44D6-AB4A-A65B-07A960EA08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5573" y="1825625"/>
            <a:ext cx="10515600" cy="3762817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500">
                <a:solidFill>
                  <a:srgbClr val="5E6C85"/>
                </a:solidFill>
              </a:defRPr>
            </a:lvl1pPr>
            <a:lvl2pPr marL="4572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FontTx/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0"/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2D1E0FA-552B-C34A-97F3-89E57BBCEF9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5573" y="1145616"/>
            <a:ext cx="8051800" cy="541338"/>
          </a:xfrm>
        </p:spPr>
        <p:txBody>
          <a:bodyPr anchor="t">
            <a:noAutofit/>
          </a:bodyPr>
          <a:lstStyle>
            <a:lvl1pPr marL="0" indent="0">
              <a:buFontTx/>
              <a:buNone/>
              <a:defRPr sz="1700">
                <a:solidFill>
                  <a:srgbClr val="00698C"/>
                </a:solidFill>
              </a:defRPr>
            </a:lvl1pPr>
            <a:lvl2pPr marL="457200" indent="0">
              <a:buFontTx/>
              <a:buNone/>
              <a:defRPr sz="2200"/>
            </a:lvl2pPr>
            <a:lvl3pPr marL="914400" indent="0">
              <a:buFontTx/>
              <a:buNone/>
              <a:defRPr sz="2200"/>
            </a:lvl3pPr>
            <a:lvl4pPr marL="1371600" indent="0">
              <a:buFontTx/>
              <a:buNone/>
              <a:defRPr sz="2200"/>
            </a:lvl4pPr>
            <a:lvl5pPr marL="1828800" indent="0">
              <a:buFontTx/>
              <a:buNone/>
              <a:defRPr sz="2200"/>
            </a:lvl5pPr>
          </a:lstStyle>
          <a:p>
            <a:pPr lvl="0"/>
            <a:r>
              <a:rPr lang="en-GB"/>
              <a:t>Slide sub title text goes her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F17DE5B-F7C1-1A49-BDD4-95340CCB72C3}"/>
              </a:ext>
            </a:extLst>
          </p:cNvPr>
          <p:cNvSpPr/>
          <p:nvPr userDrawn="1"/>
        </p:nvSpPr>
        <p:spPr>
          <a:xfrm>
            <a:off x="0" y="6225236"/>
            <a:ext cx="12192000" cy="6327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82C8130-016A-F846-AE0F-5AB3B1CEDA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3926" y="256717"/>
            <a:ext cx="1667348" cy="833674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01A03A2-9211-5D4B-9D25-10DB509DE700}"/>
              </a:ext>
            </a:extLst>
          </p:cNvPr>
          <p:cNvCxnSpPr>
            <a:cxnSpLocks/>
          </p:cNvCxnSpPr>
          <p:nvPr userDrawn="1"/>
        </p:nvCxnSpPr>
        <p:spPr>
          <a:xfrm>
            <a:off x="-6601" y="6566351"/>
            <a:ext cx="12198601" cy="0"/>
          </a:xfrm>
          <a:prstGeom prst="line">
            <a:avLst/>
          </a:prstGeom>
          <a:ln w="25400">
            <a:gradFill>
              <a:gsLst>
                <a:gs pos="23000">
                  <a:srgbClr val="194782"/>
                </a:gs>
                <a:gs pos="99000">
                  <a:srgbClr val="5E6C85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621433A0-806D-4448-BD5F-A9BCFC650649}"/>
              </a:ext>
            </a:extLst>
          </p:cNvPr>
          <p:cNvCxnSpPr>
            <a:cxnSpLocks/>
          </p:cNvCxnSpPr>
          <p:nvPr userDrawn="1"/>
        </p:nvCxnSpPr>
        <p:spPr>
          <a:xfrm>
            <a:off x="0" y="1094328"/>
            <a:ext cx="864000" cy="0"/>
          </a:xfrm>
          <a:prstGeom prst="line">
            <a:avLst/>
          </a:prstGeom>
          <a:ln w="25400">
            <a:gradFill>
              <a:gsLst>
                <a:gs pos="23000">
                  <a:srgbClr val="194782"/>
                </a:gs>
                <a:gs pos="99000">
                  <a:srgbClr val="5E6C85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B6AEC0D-B963-464A-82DC-BCA316188F9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5449" y="6381946"/>
            <a:ext cx="10800000" cy="173853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  <a:lvl2pPr>
              <a:defRPr sz="900"/>
            </a:lvl2pPr>
            <a:lvl3pPr>
              <a:defRPr sz="900"/>
            </a:lvl3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/>
              <a:t>Footnotes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 hangingPunct="0">
              <a:spcBef>
                <a:spcPct val="0"/>
              </a:spcBef>
              <a:spcAft>
                <a:spcPct val="0"/>
              </a:spcAft>
            </a:pPr>
            <a:endParaRPr lang="en-US" sz="36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30E8B2-4C2D-49FA-B16A-4A5DC8A1A4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508" y="699582"/>
            <a:ext cx="10950420" cy="940305"/>
          </a:xfrm>
        </p:spPr>
        <p:txBody>
          <a:bodyPr>
            <a:normAutofit/>
          </a:bodyPr>
          <a:lstStyle>
            <a:lvl1pPr>
              <a:defRPr sz="3600">
                <a:solidFill>
                  <a:srgbClr val="007DA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7F2103-9A57-4B55-A067-6EBD787D356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9509" y="1757543"/>
            <a:ext cx="10950419" cy="4220297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4ED553-C422-4B9E-813D-458DFA7408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69A137-6BDB-47B4-8B9B-30BE2E63C07B}" type="slidenum">
              <a:rPr lang="en-US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AA3CC0E8-9D49-42A6-B966-3FA7835666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9507" y="6279132"/>
            <a:ext cx="10515599" cy="31360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>
                <a:solidFill>
                  <a:srgbClr val="44546A"/>
                </a:solidFill>
              </a:rPr>
              <a:t>Referenc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34F8B0-EC90-4746-BB2C-6717BA64D0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96942" y="1072085"/>
            <a:ext cx="5578666" cy="714253"/>
          </a:xfrm>
        </p:spPr>
        <p:txBody>
          <a:bodyPr>
            <a:spAutoFit/>
          </a:bodyPr>
          <a:lstStyle>
            <a:lvl1pPr>
              <a:spcBef>
                <a:spcPts val="49"/>
              </a:spcBef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E3C1B6-D908-6C1A-CBBF-0B5B554385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359" y="70049"/>
            <a:ext cx="11599283" cy="49244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10800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GB" sz="3200"/>
            </a:lvl1pPr>
          </a:lstStyle>
          <a:p>
            <a:pPr lvl="0" algn="l"/>
            <a:r>
              <a:rPr lang="en-US"/>
              <a:t>Click to edit Master title style</a:t>
            </a:r>
            <a:endParaRPr lang="en-GB"/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49">
            <a:extLst>
              <a:ext uri="{FF2B5EF4-FFF2-40B4-BE49-F238E27FC236}">
                <a16:creationId xmlns:a16="http://schemas.microsoft.com/office/drawing/2014/main" id="{506199F7-429F-4800-8B46-16FDAD6426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19045" y="902593"/>
            <a:ext cx="3844544" cy="5491271"/>
          </a:xfrm>
          <a:prstGeom prst="rect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defTabSz="242791" fontAlgn="base">
              <a:spcBef>
                <a:spcPct val="0"/>
              </a:spcBef>
              <a:spcAft>
                <a:spcPct val="0"/>
              </a:spcAft>
            </a:pPr>
            <a:endParaRPr lang="en-US" sz="232" i="1">
              <a:solidFill>
                <a:srgbClr val="030508"/>
              </a:solidFill>
              <a:ea typeface="Arial" panose="020B0604020202020204" pitchFamily="34" charset="0"/>
            </a:endParaRPr>
          </a:p>
        </p:txBody>
      </p:sp>
      <p:sp>
        <p:nvSpPr>
          <p:cNvPr id="20" name="Rectangle 6">
            <a:extLst>
              <a:ext uri="{FF2B5EF4-FFF2-40B4-BE49-F238E27FC236}">
                <a16:creationId xmlns:a16="http://schemas.microsoft.com/office/drawing/2014/main" id="{1CE61F16-F885-416B-85DE-DB10351600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953" y="902593"/>
            <a:ext cx="3844544" cy="5491271"/>
          </a:xfrm>
          <a:prstGeom prst="rect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defTabSz="242791" fontAlgn="base">
              <a:spcBef>
                <a:spcPct val="0"/>
              </a:spcBef>
              <a:spcAft>
                <a:spcPct val="0"/>
              </a:spcAft>
            </a:pPr>
            <a:endParaRPr lang="en-US" sz="232" i="1">
              <a:solidFill>
                <a:srgbClr val="030508"/>
              </a:solidFill>
              <a:ea typeface="Arial" panose="020B0604020202020204" pitchFamily="34" charset="0"/>
            </a:endParaRPr>
          </a:p>
        </p:txBody>
      </p:sp>
      <p:sp>
        <p:nvSpPr>
          <p:cNvPr id="24" name="Rectangle 49">
            <a:extLst>
              <a:ext uri="{FF2B5EF4-FFF2-40B4-BE49-F238E27FC236}">
                <a16:creationId xmlns:a16="http://schemas.microsoft.com/office/drawing/2014/main" id="{E5CC934C-EA47-4A22-90BB-F29355992E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74499" y="902593"/>
            <a:ext cx="3844544" cy="5491271"/>
          </a:xfrm>
          <a:prstGeom prst="rect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defTabSz="242791" fontAlgn="base">
              <a:spcBef>
                <a:spcPct val="0"/>
              </a:spcBef>
              <a:spcAft>
                <a:spcPct val="0"/>
              </a:spcAft>
            </a:pPr>
            <a:endParaRPr lang="en-US" sz="232" i="1">
              <a:solidFill>
                <a:srgbClr val="030508"/>
              </a:solidFill>
              <a:ea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34F8B0-EC90-4746-BB2C-6717BA64D0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9953" y="1220970"/>
            <a:ext cx="3844544" cy="714253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9740">
          <p15:clr>
            <a:srgbClr val="FBAE40"/>
          </p15:clr>
        </p15:guide>
        <p15:guide id="3" pos="19176">
          <p15:clr>
            <a:srgbClr val="FBAE40"/>
          </p15:clr>
        </p15:guide>
        <p15:guide id="4" pos="18712">
          <p15:clr>
            <a:srgbClr val="FBAE40"/>
          </p15:clr>
        </p15:guide>
        <p15:guide id="6" pos="927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9158897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49">
            <a:extLst>
              <a:ext uri="{FF2B5EF4-FFF2-40B4-BE49-F238E27FC236}">
                <a16:creationId xmlns:a16="http://schemas.microsoft.com/office/drawing/2014/main" id="{506199F7-429F-4800-8B46-16FDAD6426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71160" y="902593"/>
            <a:ext cx="2871893" cy="5491271"/>
          </a:xfrm>
          <a:prstGeom prst="rect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defTabSz="242791" fontAlgn="base">
              <a:spcBef>
                <a:spcPct val="0"/>
              </a:spcBef>
              <a:spcAft>
                <a:spcPct val="0"/>
              </a:spcAft>
            </a:pPr>
            <a:endParaRPr lang="en-US" sz="232" i="1">
              <a:solidFill>
                <a:srgbClr val="030508"/>
              </a:solidFill>
              <a:ea typeface="Arial" panose="020B0604020202020204" pitchFamily="34" charset="0"/>
            </a:endParaRPr>
          </a:p>
        </p:txBody>
      </p:sp>
      <p:sp>
        <p:nvSpPr>
          <p:cNvPr id="20" name="Rectangle 6">
            <a:extLst>
              <a:ext uri="{FF2B5EF4-FFF2-40B4-BE49-F238E27FC236}">
                <a16:creationId xmlns:a16="http://schemas.microsoft.com/office/drawing/2014/main" id="{1CE61F16-F885-416B-85DE-DB10351600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953" y="902593"/>
            <a:ext cx="2871893" cy="5491271"/>
          </a:xfrm>
          <a:prstGeom prst="rect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defTabSz="242791" fontAlgn="base">
              <a:spcBef>
                <a:spcPct val="0"/>
              </a:spcBef>
              <a:spcAft>
                <a:spcPct val="0"/>
              </a:spcAft>
            </a:pPr>
            <a:endParaRPr lang="en-US" sz="232" i="1">
              <a:solidFill>
                <a:srgbClr val="030508"/>
              </a:solidFill>
              <a:ea typeface="Arial" panose="020B0604020202020204" pitchFamily="34" charset="0"/>
            </a:endParaRPr>
          </a:p>
        </p:txBody>
      </p:sp>
      <p:sp>
        <p:nvSpPr>
          <p:cNvPr id="22" name="Rectangle 50">
            <a:extLst>
              <a:ext uri="{FF2B5EF4-FFF2-40B4-BE49-F238E27FC236}">
                <a16:creationId xmlns:a16="http://schemas.microsoft.com/office/drawing/2014/main" id="{051FEAE2-320D-450B-B002-99CE7C1D83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91764" y="902593"/>
            <a:ext cx="2871893" cy="5491271"/>
          </a:xfrm>
          <a:prstGeom prst="rect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defTabSz="242791" fontAlgn="base">
              <a:spcBef>
                <a:spcPct val="0"/>
              </a:spcBef>
              <a:spcAft>
                <a:spcPct val="0"/>
              </a:spcAft>
            </a:pPr>
            <a:endParaRPr lang="en-US" sz="232" i="1">
              <a:solidFill>
                <a:srgbClr val="030508"/>
              </a:solidFill>
              <a:ea typeface="Arial" panose="020B0604020202020204" pitchFamily="34" charset="0"/>
            </a:endParaRPr>
          </a:p>
        </p:txBody>
      </p:sp>
      <p:sp>
        <p:nvSpPr>
          <p:cNvPr id="24" name="Rectangle 49">
            <a:extLst>
              <a:ext uri="{FF2B5EF4-FFF2-40B4-BE49-F238E27FC236}">
                <a16:creationId xmlns:a16="http://schemas.microsoft.com/office/drawing/2014/main" id="{E5CC934C-EA47-4A22-90BB-F29355992E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50556" y="902593"/>
            <a:ext cx="2871893" cy="5491271"/>
          </a:xfrm>
          <a:prstGeom prst="rect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defTabSz="242791" fontAlgn="base">
              <a:spcBef>
                <a:spcPct val="0"/>
              </a:spcBef>
              <a:spcAft>
                <a:spcPct val="0"/>
              </a:spcAft>
            </a:pPr>
            <a:endParaRPr lang="en-US" sz="232" i="1">
              <a:solidFill>
                <a:srgbClr val="030508"/>
              </a:solidFill>
              <a:ea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34F8B0-EC90-4746-BB2C-6717BA64D0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9953" y="1220970"/>
            <a:ext cx="2871893" cy="714253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4401">
          <p15:clr>
            <a:srgbClr val="FBAE40"/>
          </p15:clr>
        </p15:guide>
        <p15:guide id="2" pos="7351">
          <p15:clr>
            <a:srgbClr val="FBAE40"/>
          </p15:clr>
        </p15:guide>
        <p15:guide id="3" pos="21448">
          <p15:clr>
            <a:srgbClr val="FBAE40"/>
          </p15:clr>
        </p15:guide>
        <p15:guide id="4" pos="21102">
          <p15:clr>
            <a:srgbClr val="FBAE40"/>
          </p15:clr>
        </p15:guide>
        <p15:guide id="5" pos="14053">
          <p15:clr>
            <a:srgbClr val="FBAE40"/>
          </p15:clr>
        </p15:guide>
        <p15:guide id="6" pos="7006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34F8B0-EC90-4746-BB2C-6717BA64D0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29953" y="1220970"/>
            <a:ext cx="2292096" cy="714253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F3679D3-58C3-48AA-908E-0AF7CEC58C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9953" y="902592"/>
            <a:ext cx="2291684" cy="5492931"/>
          </a:xfrm>
          <a:prstGeom prst="rect">
            <a:avLst/>
          </a:prstGeom>
          <a:noFill/>
          <a:ln w="9525">
            <a:solidFill>
              <a:srgbClr val="163D80"/>
            </a:solidFill>
            <a:round/>
            <a:headEnd/>
            <a:tailEnd/>
          </a:ln>
        </p:spPr>
        <p:txBody>
          <a:bodyPr lIns="21362" bIns="10681" anchor="ctr"/>
          <a:lstStyle/>
          <a:p>
            <a:pPr defTabSz="242791" fontAlgn="base">
              <a:spcBef>
                <a:spcPct val="0"/>
              </a:spcBef>
              <a:spcAft>
                <a:spcPct val="0"/>
              </a:spcAft>
            </a:pPr>
            <a:endParaRPr lang="en-US" sz="467" b="1">
              <a:solidFill>
                <a:srgbClr val="FFFFFF"/>
              </a:solidFill>
              <a:ea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B5300B2-828C-4681-9076-4485AB2A56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40441" y="902592"/>
            <a:ext cx="2291684" cy="5492931"/>
          </a:xfrm>
          <a:prstGeom prst="rect">
            <a:avLst/>
          </a:prstGeom>
          <a:noFill/>
          <a:ln w="9525">
            <a:solidFill>
              <a:srgbClr val="163D80"/>
            </a:solidFill>
            <a:round/>
            <a:headEnd/>
            <a:tailEnd/>
          </a:ln>
        </p:spPr>
        <p:txBody>
          <a:bodyPr lIns="21362" bIns="10681" anchor="ctr"/>
          <a:lstStyle/>
          <a:p>
            <a:pPr defTabSz="242791" fontAlgn="base">
              <a:spcBef>
                <a:spcPct val="0"/>
              </a:spcBef>
              <a:spcAft>
                <a:spcPct val="0"/>
              </a:spcAft>
            </a:pPr>
            <a:endParaRPr lang="en-US" sz="467" b="1">
              <a:solidFill>
                <a:srgbClr val="FFFFFF"/>
              </a:solidFill>
              <a:ea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9AB3E0-3209-490A-B71E-3DC42A8A7B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50930" y="902592"/>
            <a:ext cx="2291684" cy="5492931"/>
          </a:xfrm>
          <a:prstGeom prst="rect">
            <a:avLst/>
          </a:prstGeom>
          <a:noFill/>
          <a:ln w="9525">
            <a:solidFill>
              <a:srgbClr val="163D80"/>
            </a:solidFill>
            <a:round/>
            <a:headEnd/>
            <a:tailEnd/>
          </a:ln>
        </p:spPr>
        <p:txBody>
          <a:bodyPr lIns="21362" bIns="10681" anchor="ctr"/>
          <a:lstStyle/>
          <a:p>
            <a:pPr defTabSz="242791" fontAlgn="base">
              <a:spcBef>
                <a:spcPct val="0"/>
              </a:spcBef>
              <a:spcAft>
                <a:spcPct val="0"/>
              </a:spcAft>
            </a:pPr>
            <a:endParaRPr lang="en-US" sz="467" b="1">
              <a:solidFill>
                <a:srgbClr val="FFFFFF"/>
              </a:solidFill>
              <a:ea typeface="Arial" panose="020B0604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980F705-9BF1-447A-9C0F-052F6297D4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61418" y="902592"/>
            <a:ext cx="2291684" cy="5492931"/>
          </a:xfrm>
          <a:prstGeom prst="rect">
            <a:avLst/>
          </a:prstGeom>
          <a:noFill/>
          <a:ln w="9525">
            <a:solidFill>
              <a:srgbClr val="163D80"/>
            </a:solidFill>
            <a:round/>
            <a:headEnd/>
            <a:tailEnd/>
          </a:ln>
        </p:spPr>
        <p:txBody>
          <a:bodyPr lIns="21362" bIns="10681" anchor="ctr"/>
          <a:lstStyle/>
          <a:p>
            <a:pPr defTabSz="242791" fontAlgn="base">
              <a:spcBef>
                <a:spcPct val="0"/>
              </a:spcBef>
              <a:spcAft>
                <a:spcPct val="0"/>
              </a:spcAft>
            </a:pPr>
            <a:endParaRPr lang="en-US" sz="467" b="1">
              <a:solidFill>
                <a:srgbClr val="FFFFFF"/>
              </a:solidFill>
              <a:ea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21354A7-7903-4754-8C61-540D67B1EA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771905" y="902592"/>
            <a:ext cx="2291684" cy="5492931"/>
          </a:xfrm>
          <a:prstGeom prst="rect">
            <a:avLst/>
          </a:prstGeom>
          <a:noFill/>
          <a:ln w="9525">
            <a:solidFill>
              <a:srgbClr val="163D80"/>
            </a:solidFill>
            <a:round/>
            <a:headEnd/>
            <a:tailEnd/>
          </a:ln>
        </p:spPr>
        <p:txBody>
          <a:bodyPr lIns="21362" bIns="10681" anchor="ctr"/>
          <a:lstStyle/>
          <a:p>
            <a:pPr defTabSz="242791" fontAlgn="base">
              <a:spcBef>
                <a:spcPct val="0"/>
              </a:spcBef>
              <a:spcAft>
                <a:spcPct val="0"/>
              </a:spcAft>
            </a:pPr>
            <a:endParaRPr lang="en-US" sz="467" b="1">
              <a:solidFill>
                <a:srgbClr val="FFFFFF"/>
              </a:solidFill>
              <a:ea typeface="Arial" panose="020B0604020202020204" pitchFamily="34" charset="0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1553">
          <p15:clr>
            <a:srgbClr val="FBAE40"/>
          </p15:clr>
        </p15:guide>
        <p15:guide id="2" pos="5929">
          <p15:clr>
            <a:srgbClr val="FBAE40"/>
          </p15:clr>
        </p15:guide>
        <p15:guide id="3" pos="22525">
          <p15:clr>
            <a:srgbClr val="FBAE40"/>
          </p15:clr>
        </p15:guide>
        <p15:guide id="4" pos="22802">
          <p15:clr>
            <a:srgbClr val="FBAE40"/>
          </p15:clr>
        </p15:guide>
        <p15:guide id="5" pos="11276">
          <p15:clr>
            <a:srgbClr val="FBAE40"/>
          </p15:clr>
        </p15:guide>
        <p15:guide id="6" pos="5650">
          <p15:clr>
            <a:srgbClr val="FBAE40"/>
          </p15:clr>
        </p15:guide>
        <p15:guide id="7" pos="16900">
          <p15:clr>
            <a:srgbClr val="FBAE40"/>
          </p15:clr>
        </p15:guide>
        <p15:guide id="8" pos="17178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104BB-2FE3-457D-9892-1D50FC9466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019682"/>
            <a:ext cx="9144000" cy="363946"/>
          </a:xfrm>
        </p:spPr>
        <p:txBody>
          <a:bodyPr anchor="b"/>
          <a:lstStyle>
            <a:lvl1pPr algn="ctr">
              <a:defRPr sz="2365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0E9A538-AAC9-4294-8B61-01AAB171C8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475703"/>
            <a:ext cx="9144000" cy="509068"/>
          </a:xfrm>
        </p:spPr>
        <p:txBody>
          <a:bodyPr/>
          <a:lstStyle>
            <a:lvl1pPr marL="0" indent="0" algn="ctr">
              <a:buNone/>
              <a:defRPr sz="946"/>
            </a:lvl1pPr>
            <a:lvl2pPr marL="180191" indent="0" algn="ctr">
              <a:buNone/>
              <a:defRPr sz="788"/>
            </a:lvl2pPr>
            <a:lvl3pPr marL="360383" indent="0" algn="ctr">
              <a:buNone/>
              <a:defRPr sz="709"/>
            </a:lvl3pPr>
            <a:lvl4pPr marL="540574" indent="0" algn="ctr">
              <a:buNone/>
              <a:defRPr sz="631"/>
            </a:lvl4pPr>
            <a:lvl5pPr marL="720766" indent="0" algn="ctr">
              <a:buNone/>
              <a:defRPr sz="631"/>
            </a:lvl5pPr>
            <a:lvl6pPr marL="900957" indent="0" algn="ctr">
              <a:buNone/>
              <a:defRPr sz="631"/>
            </a:lvl6pPr>
            <a:lvl7pPr marL="1081149" indent="0" algn="ctr">
              <a:buNone/>
              <a:defRPr sz="631"/>
            </a:lvl7pPr>
            <a:lvl8pPr marL="1261340" indent="0" algn="ctr">
              <a:buNone/>
              <a:defRPr sz="631"/>
            </a:lvl8pPr>
            <a:lvl9pPr marL="1441532" indent="0" algn="ctr">
              <a:buNone/>
              <a:defRPr sz="631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2B23B6-D175-4A18-873C-39356A34A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55B175F-0BD1-49B3-BF58-572E86B9A9F8}" type="slidenum">
              <a:rPr lang="en-GB" sz="3482" smtClean="0">
                <a:solidFill>
                  <a:srgbClr val="030508"/>
                </a:solidFill>
                <a:ea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3482">
              <a:solidFill>
                <a:srgbClr val="030508"/>
              </a:solidFill>
              <a:ea typeface="Arial" panose="020B0604020202020204" pitchFamily="34" charset="0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ol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D104BB-2FE3-457D-9892-1D50FC9466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1041400"/>
            <a:ext cx="10944224" cy="2387600"/>
          </a:xfrm>
        </p:spPr>
        <p:txBody>
          <a:bodyPr bIns="108000" anchor="b">
            <a:noAutofit/>
          </a:bodyPr>
          <a:lstStyle>
            <a:lvl1pPr algn="ctr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0E9A538-AAC9-4294-8B61-01AAB171C8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3888" y="3429000"/>
            <a:ext cx="10944224" cy="596675"/>
          </a:xfrm>
        </p:spPr>
        <p:txBody>
          <a:bodyPr tIns="216000">
            <a:spAutoFit/>
          </a:bodyPr>
          <a:lstStyle>
            <a:lvl1pPr marL="0" indent="0" algn="ctr"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author names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2B23B6-D175-4A18-873C-39356A34AD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55B175F-0BD1-49B3-BF58-572E86B9A9F8}" type="slidenum">
              <a:rPr lang="en-GB" sz="3482" smtClean="0">
                <a:solidFill>
                  <a:srgbClr val="030508"/>
                </a:solidFill>
                <a:ea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3482">
              <a:solidFill>
                <a:srgbClr val="030508"/>
              </a:solidFill>
              <a:ea typeface="Arial" panose="020B0604020202020204" pitchFamily="34" charset="0"/>
            </a:endParaRPr>
          </a:p>
        </p:txBody>
      </p:sp>
      <p:sp>
        <p:nvSpPr>
          <p:cNvPr id="4" name="object 10">
            <a:extLst>
              <a:ext uri="{FF2B5EF4-FFF2-40B4-BE49-F238E27FC236}">
                <a16:creationId xmlns:a16="http://schemas.microsoft.com/office/drawing/2014/main" id="{72B24DFA-6910-45E0-BC5A-7282C6370D1F}"/>
              </a:ext>
            </a:extLst>
          </p:cNvPr>
          <p:cNvSpPr/>
          <p:nvPr userDrawn="1"/>
        </p:nvSpPr>
        <p:spPr>
          <a:xfrm>
            <a:off x="0" y="3352800"/>
            <a:ext cx="12192000" cy="152400"/>
          </a:xfrm>
          <a:custGeom>
            <a:avLst/>
            <a:gdLst/>
            <a:ahLst/>
            <a:cxnLst/>
            <a:rect l="l" t="t" r="r" b="b"/>
            <a:pathLst>
              <a:path w="20104100" h="2033905">
                <a:moveTo>
                  <a:pt x="0" y="2033563"/>
                </a:moveTo>
                <a:lnTo>
                  <a:pt x="20104073" y="2033563"/>
                </a:lnTo>
                <a:lnTo>
                  <a:pt x="20104073" y="0"/>
                </a:lnTo>
                <a:lnTo>
                  <a:pt x="0" y="0"/>
                </a:lnTo>
                <a:lnTo>
                  <a:pt x="0" y="2033563"/>
                </a:lnTo>
                <a:close/>
              </a:path>
            </a:pathLst>
          </a:custGeom>
          <a:solidFill>
            <a:srgbClr val="163D80"/>
          </a:solidFill>
        </p:spPr>
        <p:txBody>
          <a:bodyPr wrap="square" lIns="0" tIns="0" rIns="0" bIns="0" rtlCol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sz="3482">
              <a:solidFill>
                <a:srgbClr val="030508"/>
              </a:solidFill>
              <a:ea typeface="Arial" panose="020B0604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8AE9A4F-064B-4014-8370-7B5D39C05B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4312705"/>
            <a:ext cx="10944224" cy="341632"/>
          </a:xfrm>
        </p:spPr>
        <p:txBody>
          <a:bodyPr>
            <a:spAutoFit/>
          </a:bodyPr>
          <a:lstStyle>
            <a:lvl1pPr marL="0" indent="0" algn="ctr">
              <a:buNone/>
              <a:defRPr sz="1800"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US"/>
              <a:t>Click to add affiliation(s)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7079EA1-19F6-4549-AC59-89F8DB2911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3888" y="6438998"/>
            <a:ext cx="10944224" cy="266602"/>
          </a:xfrm>
        </p:spPr>
        <p:txBody>
          <a:bodyPr tIns="36000" bIns="36000" anchor="b">
            <a:spAutoFit/>
          </a:bodyPr>
          <a:lstStyle>
            <a:lvl1pPr marL="0" indent="0" algn="ctr">
              <a:buNone/>
              <a:defRPr sz="1400" b="1"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en-US"/>
              <a:t>Click to edit congress info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143D02-6B4D-4DA7-8AA4-43AEE9A652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7400" y="99682"/>
            <a:ext cx="11108241" cy="98488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10800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en-GB" sz="3200" dirty="0"/>
            </a:lvl1pPr>
          </a:lstStyle>
          <a:p>
            <a:pPr lvl="0" algn="l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5153D99-94B4-41E9-A826-D607C8F4FB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9999" y="1492065"/>
            <a:ext cx="10118997" cy="4151709"/>
          </a:xfrm>
        </p:spPr>
        <p:txBody>
          <a:bodyPr/>
          <a:lstStyle>
            <a:lvl1pPr marL="273600" indent="-273600">
              <a:spcAft>
                <a:spcPts val="600"/>
              </a:spcAft>
              <a:defRPr sz="1800"/>
            </a:lvl1pPr>
            <a:lvl2pPr marL="547200" indent="-273600">
              <a:spcAft>
                <a:spcPts val="600"/>
              </a:spcAft>
              <a:defRPr sz="1600"/>
            </a:lvl2pPr>
            <a:lvl3pPr marL="820800" indent="-273600">
              <a:spcAft>
                <a:spcPts val="600"/>
              </a:spcAft>
              <a:defRPr sz="1400"/>
            </a:lvl3pPr>
            <a:lvl4pPr marL="1094400" indent="-273600">
              <a:spcAft>
                <a:spcPts val="600"/>
              </a:spcAft>
              <a:defRPr sz="1200"/>
            </a:lvl4pPr>
            <a:lvl5pPr marL="1368000" indent="-273600">
              <a:spcAft>
                <a:spcPts val="600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2EDD39-9FA7-4459-9321-5D16FA7C4B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3482">
                <a:solidFill>
                  <a:srgbClr val="030508"/>
                </a:solidFill>
                <a:ea typeface="Arial" panose="020B0604020202020204" pitchFamily="34" charset="0"/>
              </a:rPr>
              <a:t>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A042F3-D3E5-4473-83A8-00FAA9A7D3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999" y="6476400"/>
            <a:ext cx="5356850" cy="226800"/>
          </a:xfrm>
        </p:spPr>
        <p:txBody>
          <a:bodyPr tIns="36000" bIns="36000" anchor="b"/>
          <a:lstStyle>
            <a:lvl1pPr>
              <a:spcBef>
                <a:spcPts val="0"/>
              </a:spcBef>
              <a:spcAft>
                <a:spcPts val="200"/>
              </a:spcAft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add footnotes &amp; abbreviations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F0F7E3BB-1DF3-4539-8092-442BC4D3A78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1262" y="6476400"/>
            <a:ext cx="5356850" cy="226800"/>
          </a:xfrm>
        </p:spPr>
        <p:txBody>
          <a:bodyPr tIns="36000" bIns="36000" anchor="b"/>
          <a:lstStyle>
            <a:lvl1pPr algn="r">
              <a:spcBef>
                <a:spcPts val="0"/>
              </a:spcBef>
              <a:spcAft>
                <a:spcPts val="200"/>
              </a:spcAft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add references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178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84878F-AC82-43F5-9C95-B8944599BD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000" y="133200"/>
            <a:ext cx="10944000" cy="921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C1DD5F3-FE8C-46A7-BBF6-EFD01656496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0000" y="1825625"/>
            <a:ext cx="52920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E8E7337-899C-4B97-A83E-1F774C0485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82000" y="1825625"/>
            <a:ext cx="52920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7EF006-0632-4BA3-A8F3-60447918B2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68112" y="6476350"/>
            <a:ext cx="545628" cy="226591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55B175F-0BD1-49B3-BF58-572E86B9A9F8}" type="slidenum">
              <a:rPr lang="en-GB" sz="3482" smtClean="0">
                <a:solidFill>
                  <a:srgbClr val="030508"/>
                </a:solidFill>
                <a:ea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3482">
              <a:solidFill>
                <a:srgbClr val="030508"/>
              </a:solidFill>
              <a:ea typeface="Arial" panose="020B0604020202020204" pitchFamily="34" charset="0"/>
            </a:endParaRP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32431D41-8C80-4059-81E6-28FE5F42E9A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999" y="6476400"/>
            <a:ext cx="5356850" cy="226800"/>
          </a:xfrm>
        </p:spPr>
        <p:txBody>
          <a:bodyPr tIns="36000" bIns="36000" anchor="b"/>
          <a:lstStyle>
            <a:lvl1pPr>
              <a:spcBef>
                <a:spcPts val="0"/>
              </a:spcBef>
              <a:spcAft>
                <a:spcPts val="200"/>
              </a:spcAft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add footnotes &amp; abbreviation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85F3586B-C9F4-4E44-8F36-3145238EAB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1262" y="6476400"/>
            <a:ext cx="5356850" cy="226800"/>
          </a:xfrm>
        </p:spPr>
        <p:txBody>
          <a:bodyPr tIns="36000" bIns="36000" anchor="b"/>
          <a:lstStyle>
            <a:lvl1pPr algn="r">
              <a:spcBef>
                <a:spcPts val="0"/>
              </a:spcBef>
              <a:spcAft>
                <a:spcPts val="200"/>
              </a:spcAft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add references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050411-5F64-4673-963D-0813B41A04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D8BBBC7-3FD8-43C4-95E9-A2B5D6B1EC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68112" y="6476350"/>
            <a:ext cx="545628" cy="226591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55B175F-0BD1-49B3-BF58-572E86B9A9F8}" type="slidenum">
              <a:rPr lang="en-GB" sz="3482" smtClean="0">
                <a:solidFill>
                  <a:srgbClr val="030508"/>
                </a:solidFill>
                <a:ea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3482">
              <a:solidFill>
                <a:srgbClr val="030508"/>
              </a:solidFill>
              <a:ea typeface="Arial" panose="020B0604020202020204" pitchFamily="34" charset="0"/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5E797F09-E5CB-4D0E-9CA9-1A806E9277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999" y="6476400"/>
            <a:ext cx="5356850" cy="226800"/>
          </a:xfrm>
        </p:spPr>
        <p:txBody>
          <a:bodyPr tIns="36000" bIns="36000" anchor="b"/>
          <a:lstStyle>
            <a:lvl1pPr>
              <a:spcBef>
                <a:spcPts val="0"/>
              </a:spcBef>
              <a:spcAft>
                <a:spcPts val="200"/>
              </a:spcAft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add footnotes &amp; abbreviations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89F12305-6373-4F02-844A-34E8ABF5BBD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1262" y="6476400"/>
            <a:ext cx="5356850" cy="226800"/>
          </a:xfrm>
        </p:spPr>
        <p:txBody>
          <a:bodyPr tIns="36000" bIns="36000" anchor="b"/>
          <a:lstStyle>
            <a:lvl1pPr algn="r">
              <a:spcBef>
                <a:spcPts val="0"/>
              </a:spcBef>
              <a:spcAft>
                <a:spcPts val="200"/>
              </a:spcAft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add references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0ADA4D-AB29-421A-AA9E-1F32A96102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68112" y="6476350"/>
            <a:ext cx="545628" cy="226591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55B175F-0BD1-49B3-BF58-572E86B9A9F8}" type="slidenum">
              <a:rPr lang="en-GB" sz="3482" smtClean="0">
                <a:solidFill>
                  <a:srgbClr val="030508"/>
                </a:solidFill>
                <a:ea typeface="Arial" panose="020B060402020202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3482">
              <a:solidFill>
                <a:srgbClr val="030508"/>
              </a:solidFill>
              <a:ea typeface="Arial" panose="020B0604020202020204" pitchFamily="34" charset="0"/>
            </a:endParaRPr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E6C7347-236F-41E6-9BA1-55A630E7B4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9999" y="6476400"/>
            <a:ext cx="5356850" cy="226800"/>
          </a:xfrm>
        </p:spPr>
        <p:txBody>
          <a:bodyPr tIns="36000" bIns="36000" anchor="b"/>
          <a:lstStyle>
            <a:lvl1pPr>
              <a:spcBef>
                <a:spcPts val="0"/>
              </a:spcBef>
              <a:spcAft>
                <a:spcPts val="200"/>
              </a:spcAft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add footnotes &amp; abbreviation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5E7504-20AD-4F3F-B25D-3167486E7B6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1262" y="6476400"/>
            <a:ext cx="5356850" cy="226800"/>
          </a:xfrm>
        </p:spPr>
        <p:txBody>
          <a:bodyPr tIns="36000" bIns="36000" anchor="b"/>
          <a:lstStyle>
            <a:lvl1pPr algn="r">
              <a:spcBef>
                <a:spcPts val="0"/>
              </a:spcBef>
              <a:spcAft>
                <a:spcPts val="200"/>
              </a:spcAft>
              <a:buNone/>
              <a:defRPr sz="11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add references</a:t>
            </a: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5990986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63ADD123-CF65-473C-A0EE-A1C55ECB0B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7" t="25417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Text&#10;&#10;Description automatically generated">
            <a:extLst>
              <a:ext uri="{FF2B5EF4-FFF2-40B4-BE49-F238E27FC236}">
                <a16:creationId xmlns:a16="http://schemas.microsoft.com/office/drawing/2014/main" id="{A5F54CF2-A554-458A-B812-73CFB270A7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93000" y="901700"/>
            <a:ext cx="4290944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93000" y="3429000"/>
            <a:ext cx="4290944" cy="10609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F638119B-DA72-429D-B50D-F2BF8D9949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7" t="26453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Text&#10;&#10;Description automatically generated">
            <a:extLst>
              <a:ext uri="{FF2B5EF4-FFF2-40B4-BE49-F238E27FC236}">
                <a16:creationId xmlns:a16="http://schemas.microsoft.com/office/drawing/2014/main" id="{4A0F2C23-8209-48CA-A67C-85D1C798A6E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901700"/>
            <a:ext cx="4290944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97280" y="3429000"/>
            <a:ext cx="4290944" cy="10609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 w/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679921A0-FB50-4144-A6BB-7AFFE9C046B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7" t="26453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Text&#10;&#10;Description automatically generated">
            <a:extLst>
              <a:ext uri="{FF2B5EF4-FFF2-40B4-BE49-F238E27FC236}">
                <a16:creationId xmlns:a16="http://schemas.microsoft.com/office/drawing/2014/main" id="{C40D1FAB-BAE6-45DB-B5EC-6D54361DB8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93000" y="2909668"/>
            <a:ext cx="4290944" cy="600559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493000" y="3618621"/>
            <a:ext cx="4291013" cy="151958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chemeClr val="tx2"/>
                </a:solidFill>
              </a:defRPr>
            </a:lvl2pPr>
            <a:lvl3pPr marL="914400" indent="0">
              <a:buNone/>
              <a:defRPr sz="1400">
                <a:solidFill>
                  <a:schemeClr val="tx2"/>
                </a:solidFill>
              </a:defRPr>
            </a:lvl3pPr>
            <a:lvl4pPr marL="1371600" indent="0">
              <a:buNone/>
              <a:defRPr sz="1400">
                <a:solidFill>
                  <a:schemeClr val="tx2"/>
                </a:solidFill>
              </a:defRPr>
            </a:lvl4pPr>
            <a:lvl5pPr marL="1828800" indent="0"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6051" y="1456531"/>
            <a:ext cx="4376061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er 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CF28003-D125-4B04-9F3A-C5A0F24F0C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295900" cy="4586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 descr="Text&#10;&#10;Description automatically generated">
            <a:extLst>
              <a:ext uri="{FF2B5EF4-FFF2-40B4-BE49-F238E27FC236}">
                <a16:creationId xmlns:a16="http://schemas.microsoft.com/office/drawing/2014/main" id="{B0E7503D-D419-4203-92C9-358C16DADB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5995089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794" y="1440630"/>
            <a:ext cx="380386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0728" y="1676400"/>
            <a:ext cx="4997672" cy="3869932"/>
          </a:xfrm>
        </p:spPr>
        <p:txBody>
          <a:bodyPr lIns="0" tIns="0" rIns="0" bIns="0">
            <a:normAutofit/>
          </a:bodyPr>
          <a:lstStyle>
            <a:lvl1pPr marL="119063" indent="-119063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4488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1500" indent="-10636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0288" indent="-109538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2" y="6509189"/>
            <a:ext cx="9056980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443091-F422-4ABA-93B1-89E089D73A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DDAD4091-7095-485D-8839-ABCB2893A5CC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FA0D43D-7E8D-4478-9AD0-5563FCEB2C7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74BC9767-F9D5-41EB-807E-DC5B086A71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F57E4C2-4E2E-4C68-A6E3-FAF916FF4EEF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8" descr="Text&#10;&#10;Description automatically generated">
            <a:extLst>
              <a:ext uri="{FF2B5EF4-FFF2-40B4-BE49-F238E27FC236}">
                <a16:creationId xmlns:a16="http://schemas.microsoft.com/office/drawing/2014/main" id="{85F36345-8389-4A4B-9B9D-5ECDBCCEEF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1701" y="1345851"/>
            <a:ext cx="11064241" cy="4351338"/>
          </a:xfrm>
        </p:spPr>
        <p:txBody>
          <a:bodyPr lIns="0" tIns="0" rIns="0" bIns="0">
            <a:normAutofit/>
          </a:bodyPr>
          <a:lstStyle>
            <a:lvl1pPr marL="115888" indent="-11588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4488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3088" indent="-107950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1688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0288" indent="-109538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2" y="6571559"/>
            <a:ext cx="9056979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EDBE443-B7AD-4CAB-98D8-44446BBD88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CBAE0B00-DA62-4F9A-9905-D132485A9ACB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06F0C37-802E-4CF0-8D09-7DF3250F00A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Slide_Un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F5ABB67A-C3F1-4B21-B295-168A898402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8C74A00-9BDB-4434-B681-3D214BCD450F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8" descr="Text&#10;&#10;Description automatically generated">
            <a:extLst>
              <a:ext uri="{FF2B5EF4-FFF2-40B4-BE49-F238E27FC236}">
                <a16:creationId xmlns:a16="http://schemas.microsoft.com/office/drawing/2014/main" id="{78AA31BD-A6D4-499D-8334-63477D9FDB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1701" y="1346456"/>
            <a:ext cx="11064241" cy="4351338"/>
          </a:xfrm>
        </p:spPr>
        <p:txBody>
          <a:bodyPr lIns="0" tIns="0" rIns="0" bIns="0">
            <a:normAutofit/>
          </a:bodyPr>
          <a:lstStyle>
            <a:lvl1pPr marL="114300" indent="-1143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6075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6263" indent="-111125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1688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1875" indent="-111125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1" y="6509189"/>
            <a:ext cx="9471299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DEFE44C-51FE-4E52-8F4A-5DD92DBFCF7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AB947943-C606-4ED7-BDDC-8188EAA33D75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6B71D7-CCDB-4FAF-B212-A505573354A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2 Content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C909890B-1AAC-493C-BD56-63278A49C72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3735EA9-0DB8-4B5C-B1C5-5F42A4313C9A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8" descr="Text&#10;&#10;Description automatically generated">
            <a:extLst>
              <a:ext uri="{FF2B5EF4-FFF2-40B4-BE49-F238E27FC236}">
                <a16:creationId xmlns:a16="http://schemas.microsoft.com/office/drawing/2014/main" id="{D8FD1FC9-CA93-458A-BF9C-55859FE9D0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12341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0" y="210312"/>
            <a:ext cx="10515600" cy="850392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1700" y="1346456"/>
            <a:ext cx="4937760" cy="4351338"/>
          </a:xfrm>
        </p:spPr>
        <p:txBody>
          <a:bodyPr lIns="0" tIns="0" rIns="0" bIns="0">
            <a:normAutofit/>
          </a:bodyPr>
          <a:lstStyle>
            <a:lvl1pPr marL="122238" indent="-12223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9250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7850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3463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6139542" y="1346456"/>
            <a:ext cx="4937760" cy="4351338"/>
          </a:xfrm>
        </p:spPr>
        <p:txBody>
          <a:bodyPr lIns="0" tIns="0" rIns="0" bIns="0">
            <a:normAutofit/>
          </a:bodyPr>
          <a:lstStyle>
            <a:lvl1pPr marL="122238" indent="-12223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9250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7850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22238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3463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699" y="6571559"/>
            <a:ext cx="9051521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DE03FDF-9AA2-44EC-8CCC-FBD59577F1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9725" y="6462713"/>
            <a:ext cx="277813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A3DA53F4-57F0-48B1-9791-7EE34C979161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68A1770-BD92-482E-A50D-6560C7F6028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C2ED7D8D-4CFF-4687-832E-D7564B066A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6E0F5A6-FDDE-4DBB-AB41-0F3FE5925F1A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8" descr="Text&#10;&#10;Description automatically generated">
            <a:extLst>
              <a:ext uri="{FF2B5EF4-FFF2-40B4-BE49-F238E27FC236}">
                <a16:creationId xmlns:a16="http://schemas.microsoft.com/office/drawing/2014/main" id="{5E5DCD8F-F7BD-4AFC-BC2B-282A2C03509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2" y="6509189"/>
            <a:ext cx="9056980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E09261-9E53-423B-BE45-8BC02FEF017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6995DCC3-C1E0-4209-B893-2DE21D125AC3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855E7A-DDFB-465A-B094-14CD82EF6D8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Text&#10;&#10;Description automatically generated">
            <a:extLst>
              <a:ext uri="{FF2B5EF4-FFF2-40B4-BE49-F238E27FC236}">
                <a16:creationId xmlns:a16="http://schemas.microsoft.com/office/drawing/2014/main" id="{73DE7B9A-B217-4157-99FD-D58D616A73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1ADD0E-539A-4505-BCB8-0C71E7B770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11695EF4-6BAA-480B-B516-B23915D9AC24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8DECD5-88FD-4DC2-B8D1-6EDE10385F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Text&#10;&#10;Description automatically generated">
            <a:extLst>
              <a:ext uri="{FF2B5EF4-FFF2-40B4-BE49-F238E27FC236}">
                <a16:creationId xmlns:a16="http://schemas.microsoft.com/office/drawing/2014/main" id="{1655A344-D7FA-498E-BFDF-393C0C3E02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0456D4C-9315-4F2B-9EB6-9B2A5962E50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55617" y="109538"/>
            <a:ext cx="2859616" cy="59991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6767" y="109538"/>
            <a:ext cx="8375651" cy="59991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033923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8BA1A8DB-8491-4E55-BBF7-843859B073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7" t="26453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>
            <a:extLst>
              <a:ext uri="{FF2B5EF4-FFF2-40B4-BE49-F238E27FC236}">
                <a16:creationId xmlns:a16="http://schemas.microsoft.com/office/drawing/2014/main" id="{702E6477-E956-4D79-BC73-8786B59E81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138" y="631825"/>
            <a:ext cx="168910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 descr="Text&#10;&#10;Description automatically generated">
            <a:extLst>
              <a:ext uri="{FF2B5EF4-FFF2-40B4-BE49-F238E27FC236}">
                <a16:creationId xmlns:a16="http://schemas.microsoft.com/office/drawing/2014/main" id="{DE8D4E1F-B643-4285-8F5D-0982DE20A5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9721" y="1522752"/>
            <a:ext cx="4671827" cy="2149274"/>
          </a:xfrm>
        </p:spPr>
        <p:txBody>
          <a:bodyPr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9721" y="3873195"/>
            <a:ext cx="4671827" cy="873868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3F31501-C11D-4735-89C9-6EA10362AC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8" name="Rubrik 7">
            <a:extLst>
              <a:ext uri="{FF2B5EF4-FFF2-40B4-BE49-F238E27FC236}">
                <a16:creationId xmlns:a16="http://schemas.microsoft.com/office/drawing/2014/main" id="{F98502F9-C858-4602-98B4-ADB04E6C42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0" name="Platshållare för bildnummer 9">
            <a:extLst>
              <a:ext uri="{FF2B5EF4-FFF2-40B4-BE49-F238E27FC236}">
                <a16:creationId xmlns:a16="http://schemas.microsoft.com/office/drawing/2014/main" id="{028F6DB5-8B02-4882-AA7D-C2EAB98694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06B0CF-28DA-4AF7-AD0B-CB9D5901F647}" type="slidenum">
              <a:rPr lang="sv-SE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sv-SE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BA23B167-3C1F-40B1-8D58-4A9EE26435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6762" y="6585431"/>
            <a:ext cx="10659600" cy="124650"/>
          </a:xfrm>
        </p:spPr>
        <p:txBody>
          <a:bodyPr anchor="b">
            <a:spAutoFit/>
          </a:bodyPr>
          <a:lstStyle>
            <a:lvl1pPr marL="0" indent="0">
              <a:buNone/>
              <a:defRPr sz="900">
                <a:solidFill>
                  <a:schemeClr val="bg2">
                    <a:lumMod val="75000"/>
                  </a:schemeClr>
                </a:solidFill>
              </a:defRPr>
            </a:lvl1pPr>
            <a:lvl2pPr marL="182562" indent="0">
              <a:buNone/>
              <a:defRPr/>
            </a:lvl2pPr>
          </a:lstStyle>
          <a:p>
            <a:pPr lvl="0"/>
            <a:r>
              <a:rPr lang="sv-SE" err="1"/>
              <a:t>References</a:t>
            </a:r>
            <a:endParaRPr lang="sv-SE"/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-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latshållare för bild 65">
            <a:extLst>
              <a:ext uri="{FF2B5EF4-FFF2-40B4-BE49-F238E27FC236}">
                <a16:creationId xmlns:a16="http://schemas.microsoft.com/office/drawing/2014/main" id="{09791C55-72D3-4450-917F-90D7845D4C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540004"/>
            <a:ext cx="12191998" cy="6317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Underrubrik 2">
            <a:extLst>
              <a:ext uri="{FF2B5EF4-FFF2-40B4-BE49-F238E27FC236}">
                <a16:creationId xmlns:a16="http://schemas.microsoft.com/office/drawing/2014/main" id="{BB164291-5C0A-4431-8904-0C6D2C1410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66714" y="5412376"/>
            <a:ext cx="3265488" cy="783772"/>
          </a:xfrm>
        </p:spPr>
        <p:txBody>
          <a:bodyPr anchor="ctr">
            <a:norm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50" name="Platshållare för text 16">
            <a:extLst>
              <a:ext uri="{FF2B5EF4-FFF2-40B4-BE49-F238E27FC236}">
                <a16:creationId xmlns:a16="http://schemas.microsoft.com/office/drawing/2014/main" id="{351C647C-20C4-4484-8B20-0A940446797A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057050" y="5548993"/>
            <a:ext cx="510539" cy="510539"/>
          </a:xfrm>
          <a:custGeom>
            <a:avLst/>
            <a:gdLst>
              <a:gd name="connsiteX0" fmla="*/ 362857 w 725714"/>
              <a:gd name="connsiteY0" fmla="*/ 0 h 725714"/>
              <a:gd name="connsiteX1" fmla="*/ 725714 w 725714"/>
              <a:gd name="connsiteY1" fmla="*/ 362857 h 725714"/>
              <a:gd name="connsiteX2" fmla="*/ 362857 w 725714"/>
              <a:gd name="connsiteY2" fmla="*/ 725714 h 725714"/>
              <a:gd name="connsiteX3" fmla="*/ 0 w 725714"/>
              <a:gd name="connsiteY3" fmla="*/ 362857 h 725714"/>
              <a:gd name="connsiteX4" fmla="*/ 362857 w 725714"/>
              <a:gd name="connsiteY4" fmla="*/ 0 h 725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714" h="725714">
                <a:moveTo>
                  <a:pt x="362857" y="0"/>
                </a:moveTo>
                <a:cubicBezTo>
                  <a:pt x="563257" y="0"/>
                  <a:pt x="725714" y="162457"/>
                  <a:pt x="725714" y="362857"/>
                </a:cubicBezTo>
                <a:cubicBezTo>
                  <a:pt x="725714" y="563257"/>
                  <a:pt x="563257" y="725714"/>
                  <a:pt x="362857" y="725714"/>
                </a:cubicBezTo>
                <a:cubicBezTo>
                  <a:pt x="162457" y="725714"/>
                  <a:pt x="0" y="563257"/>
                  <a:pt x="0" y="362857"/>
                </a:cubicBezTo>
                <a:cubicBezTo>
                  <a:pt x="0" y="162457"/>
                  <a:pt x="162457" y="0"/>
                  <a:pt x="362857" y="0"/>
                </a:cubicBezTo>
                <a:close/>
              </a:path>
            </a:pathLst>
          </a:custGeom>
          <a:solidFill>
            <a:schemeClr val="accent1">
              <a:alpha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</a:p>
        </p:txBody>
      </p:sp>
      <p:sp>
        <p:nvSpPr>
          <p:cNvPr id="12" name="Rubrik 11">
            <a:extLst>
              <a:ext uri="{FF2B5EF4-FFF2-40B4-BE49-F238E27FC236}">
                <a16:creationId xmlns:a16="http://schemas.microsoft.com/office/drawing/2014/main" id="{53FE9DF3-5084-4B08-9B7C-DE0BD65AF9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1143" y="1364572"/>
            <a:ext cx="3182258" cy="365918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1"/>
            <a:tileRect/>
          </a:gradFill>
        </p:spPr>
        <p:txBody>
          <a:bodyPr wrap="square" lIns="216000" tIns="108000" rIns="612000" bIns="108000" anchor="ctr" anchorCtr="1">
            <a:noAutofit/>
          </a:bodyPr>
          <a:lstStyle>
            <a:lvl1pPr algn="ctr">
              <a:defRPr sz="3400" b="1">
                <a:solidFill>
                  <a:schemeClr val="bg1"/>
                </a:solidFill>
              </a:defRPr>
            </a:lvl1pPr>
          </a:lstStyle>
          <a:p>
            <a:r>
              <a:rPr lang="sv-SE" err="1"/>
              <a:t>Title</a:t>
            </a:r>
            <a:endParaRPr lang="sv-SE"/>
          </a:p>
        </p:txBody>
      </p:sp>
      <p:sp>
        <p:nvSpPr>
          <p:cNvPr id="13" name="Platshållare för text 6">
            <a:extLst>
              <a:ext uri="{FF2B5EF4-FFF2-40B4-BE49-F238E27FC236}">
                <a16:creationId xmlns:a16="http://schemas.microsoft.com/office/drawing/2014/main" id="{710B371E-DEBF-4CE2-879A-1206B83182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96630" y="4567238"/>
            <a:ext cx="1915200" cy="311150"/>
          </a:xfrm>
          <a:blipFill>
            <a:blip r:embed="rId2"/>
            <a:stretch>
              <a:fillRect/>
            </a:stretch>
          </a:blipFill>
        </p:spPr>
        <p:txBody>
          <a:bodyPr wrap="non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A77CA6DC-4C83-4253-9506-1A6C00544C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6766" y="1364571"/>
            <a:ext cx="394377" cy="3659186"/>
          </a:xfrm>
          <a:custGeom>
            <a:avLst/>
            <a:gdLst>
              <a:gd name="connsiteX0" fmla="*/ 0 w 394377"/>
              <a:gd name="connsiteY0" fmla="*/ 0 h 3659186"/>
              <a:gd name="connsiteX1" fmla="*/ 394377 w 394377"/>
              <a:gd name="connsiteY1" fmla="*/ 0 h 3659186"/>
              <a:gd name="connsiteX2" fmla="*/ 394377 w 394377"/>
              <a:gd name="connsiteY2" fmla="*/ 3659186 h 3659186"/>
              <a:gd name="connsiteX3" fmla="*/ 0 w 394377"/>
              <a:gd name="connsiteY3" fmla="*/ 3659186 h 3659186"/>
              <a:gd name="connsiteX4" fmla="*/ 0 w 394377"/>
              <a:gd name="connsiteY4" fmla="*/ 649528 h 3659186"/>
              <a:gd name="connsiteX5" fmla="*/ 32529 w 394377"/>
              <a:gd name="connsiteY5" fmla="*/ 639431 h 3659186"/>
              <a:gd name="connsiteX6" fmla="*/ 188436 w 394377"/>
              <a:gd name="connsiteY6" fmla="*/ 404222 h 3659186"/>
              <a:gd name="connsiteX7" fmla="*/ 32529 w 394377"/>
              <a:gd name="connsiteY7" fmla="*/ 169012 h 3659186"/>
              <a:gd name="connsiteX8" fmla="*/ 0 w 394377"/>
              <a:gd name="connsiteY8" fmla="*/ 158915 h 365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377" h="3659186">
                <a:moveTo>
                  <a:pt x="0" y="0"/>
                </a:moveTo>
                <a:lnTo>
                  <a:pt x="394377" y="0"/>
                </a:lnTo>
                <a:lnTo>
                  <a:pt x="394377" y="3659186"/>
                </a:lnTo>
                <a:lnTo>
                  <a:pt x="0" y="3659186"/>
                </a:lnTo>
                <a:lnTo>
                  <a:pt x="0" y="649528"/>
                </a:lnTo>
                <a:lnTo>
                  <a:pt x="32529" y="639431"/>
                </a:lnTo>
                <a:cubicBezTo>
                  <a:pt x="124149" y="600679"/>
                  <a:pt x="188436" y="509958"/>
                  <a:pt x="188436" y="404222"/>
                </a:cubicBezTo>
                <a:cubicBezTo>
                  <a:pt x="188436" y="298486"/>
                  <a:pt x="124149" y="207765"/>
                  <a:pt x="32529" y="169012"/>
                </a:cubicBezTo>
                <a:lnTo>
                  <a:pt x="0" y="15891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1"/>
          </a:gradFill>
        </p:spPr>
        <p:txBody>
          <a:bodyPr wrap="non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579A9A6-96CD-4BF8-9626-4810709B788D}" type="datetimeFigureOut">
              <a:rPr lang="en-GB" smtClean="0">
                <a:solidFill>
                  <a:srgbClr val="333333">
                    <a:tint val="75000"/>
                  </a:srgbClr>
                </a:solidFill>
              </a:rPr>
              <a:pPr/>
              <a:t>02/02/2024</a:t>
            </a:fld>
            <a:endParaRPr lang="en-GB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GB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003D8D9-C2E2-4F0E-B28F-64B14EADB18F}" type="slidenum">
              <a:rPr lang="en-GB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333333">
                  <a:tint val="75000"/>
                </a:srgbClr>
              </a:solidFill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xt Slide_Double Type Zone_1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96734C60-5020-5047-BB1E-B64497FC731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6791" b="35415"/>
          <a:stretch/>
        </p:blipFill>
        <p:spPr>
          <a:xfrm rot="16200000">
            <a:off x="7085988" y="-524893"/>
            <a:ext cx="4581123" cy="563090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931317"/>
            <a:ext cx="10972800" cy="653009"/>
          </a:xfrm>
        </p:spPr>
        <p:txBody>
          <a:bodyPr anchor="b" anchorCtr="0"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828502"/>
            <a:ext cx="5294379" cy="1374735"/>
          </a:xfrm>
        </p:spPr>
        <p:txBody>
          <a:bodyPr/>
          <a:lstStyle>
            <a:lvl1pPr marL="241289" indent="-241289">
              <a:buSzPct val="100000"/>
              <a:buFont typeface="Arial" panose="020B0604020202020204" pitchFamily="34" charset="0"/>
              <a:buChar char="•"/>
              <a:tabLst>
                <a:tab pos="5331617" algn="r"/>
                <a:tab pos="10972252" algn="r"/>
              </a:tabLst>
              <a:defRPr/>
            </a:lvl1pPr>
            <a:lvl2pPr marL="598988" indent="-241289">
              <a:defRPr/>
            </a:lvl2pPr>
            <a:lvl3pPr marL="956685" indent="-241289">
              <a:defRPr/>
            </a:lvl3pPr>
            <a:lvl4pPr marL="1314386" indent="-245521">
              <a:defRPr/>
            </a:lvl4pPr>
            <a:lvl5pPr marL="1676317" indent="-237055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609600" y="6021290"/>
            <a:ext cx="304800" cy="672073"/>
          </a:xfrm>
        </p:spPr>
        <p:txBody>
          <a:bodyPr anchor="b" anchorCtr="0"/>
          <a:lstStyle/>
          <a:p>
            <a:fld id="{47547CF9-5B10-D24F-A8D7-45A9778164F7}" type="slidenum">
              <a:rPr lang="uk-UA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uk-UA" dirty="0">
              <a:solidFill>
                <a:srgbClr val="333333">
                  <a:tint val="75000"/>
                </a:srgbClr>
              </a:solidFill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97C8741-C00D-DE49-B1DC-009B43A591F0}"/>
              </a:ext>
            </a:extLst>
          </p:cNvPr>
          <p:cNvCxnSpPr/>
          <p:nvPr userDrawn="1"/>
        </p:nvCxnSpPr>
        <p:spPr>
          <a:xfrm flipH="1">
            <a:off x="2133603" y="1584325"/>
            <a:ext cx="10058399" cy="0"/>
          </a:xfrm>
          <a:prstGeom prst="line">
            <a:avLst/>
          </a:prstGeom>
          <a:ln w="6350">
            <a:gradFill>
              <a:gsLst>
                <a:gs pos="25000">
                  <a:schemeClr val="bg1"/>
                </a:gs>
                <a:gs pos="99000">
                  <a:schemeClr val="accent4"/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5B74BE9-7F00-3543-8EC8-64F08FFB3AB5}"/>
              </a:ext>
            </a:extLst>
          </p:cNvPr>
          <p:cNvCxnSpPr/>
          <p:nvPr userDrawn="1"/>
        </p:nvCxnSpPr>
        <p:spPr>
          <a:xfrm flipH="1">
            <a:off x="2133603" y="5970757"/>
            <a:ext cx="10058399" cy="0"/>
          </a:xfrm>
          <a:prstGeom prst="line">
            <a:avLst/>
          </a:prstGeom>
          <a:ln w="6350">
            <a:gradFill>
              <a:gsLst>
                <a:gs pos="25000">
                  <a:schemeClr val="bg1"/>
                </a:gs>
                <a:gs pos="99000">
                  <a:schemeClr val="accent4"/>
                </a:gs>
              </a:gsLst>
              <a:lin ang="108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8E1D40D-3C97-D340-BF8A-6C79B12A49ED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56936" y="1828502"/>
            <a:ext cx="5294379" cy="1374735"/>
          </a:xfrm>
        </p:spPr>
        <p:txBody>
          <a:bodyPr/>
          <a:lstStyle>
            <a:lvl1pPr marL="241289" indent="-241289">
              <a:buSzPct val="100000"/>
              <a:buFont typeface="Arial" panose="020B0604020202020204" pitchFamily="34" charset="0"/>
              <a:buChar char="•"/>
              <a:tabLst>
                <a:tab pos="5331617" algn="r"/>
                <a:tab pos="10972252" algn="r"/>
              </a:tabLst>
              <a:defRPr/>
            </a:lvl1pPr>
            <a:lvl2pPr marL="598988" indent="-241289">
              <a:defRPr/>
            </a:lvl2pPr>
            <a:lvl3pPr marL="956685" indent="-241289">
              <a:defRPr/>
            </a:lvl3pPr>
            <a:lvl4pPr marL="1314386" indent="-245521">
              <a:defRPr/>
            </a:lvl4pPr>
            <a:lvl5pPr marL="1676317" indent="-237055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6F1B5D7-88D2-9F46-8DA6-2DBA6EAED7C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1972" r="22224"/>
          <a:stretch/>
        </p:blipFill>
        <p:spPr>
          <a:xfrm>
            <a:off x="10670997" y="125001"/>
            <a:ext cx="1536171" cy="1649649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1A1579D5-4768-49CB-9668-3E27EF5975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4400" y="6021290"/>
            <a:ext cx="5056717" cy="672073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defRPr lang="en-US" sz="933" dirty="0">
                <a:solidFill>
                  <a:srgbClr val="7F7F7F"/>
                </a:solidFill>
              </a:defRPr>
            </a:lvl1pPr>
          </a:lstStyle>
          <a:p>
            <a:r>
              <a:rPr lang="en-GB"/>
              <a:t>Click to insert references and abbreviations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D2748A4C-28EA-5440-9A52-1F72DE3E7B8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592280" y="6470750"/>
            <a:ext cx="2954937" cy="242433"/>
          </a:xfrm>
          <a:prstGeom prst="rect">
            <a:avLst/>
          </a:prstGeom>
        </p:spPr>
      </p:pic>
      <p:pic>
        <p:nvPicPr>
          <p:cNvPr id="4" name="Picture 3" descr="A picture containing logo&#10;&#10;Description automatically generated">
            <a:extLst>
              <a:ext uri="{FF2B5EF4-FFF2-40B4-BE49-F238E27FC236}">
                <a16:creationId xmlns:a16="http://schemas.microsoft.com/office/drawing/2014/main" id="{EDDEDD48-3D03-0CEE-59A4-7F28313CEFF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27381" y="199768"/>
            <a:ext cx="2093080" cy="69816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63ADD123-CF65-473C-A0EE-A1C55ECB0B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7" t="25417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Text&#10;&#10;Description automatically generated">
            <a:extLst>
              <a:ext uri="{FF2B5EF4-FFF2-40B4-BE49-F238E27FC236}">
                <a16:creationId xmlns:a16="http://schemas.microsoft.com/office/drawing/2014/main" id="{A5F54CF2-A554-458A-B812-73CFB270A7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93000" y="901700"/>
            <a:ext cx="4290944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93000" y="3429000"/>
            <a:ext cx="4290944" cy="10609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F638119B-DA72-429D-B50D-F2BF8D9949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7" t="26453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Text&#10;&#10;Description automatically generated">
            <a:extLst>
              <a:ext uri="{FF2B5EF4-FFF2-40B4-BE49-F238E27FC236}">
                <a16:creationId xmlns:a16="http://schemas.microsoft.com/office/drawing/2014/main" id="{4A0F2C23-8209-48CA-A67C-85D1C798A6E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901700"/>
            <a:ext cx="4290944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97280" y="3429000"/>
            <a:ext cx="4290944" cy="10609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 w/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679921A0-FB50-4144-A6BB-7AFFE9C046B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7" t="26453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Text&#10;&#10;Description automatically generated">
            <a:extLst>
              <a:ext uri="{FF2B5EF4-FFF2-40B4-BE49-F238E27FC236}">
                <a16:creationId xmlns:a16="http://schemas.microsoft.com/office/drawing/2014/main" id="{C40D1FAB-BAE6-45DB-B5EC-6D54361DB8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93000" y="2909668"/>
            <a:ext cx="4290944" cy="600559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493000" y="3618621"/>
            <a:ext cx="4291013" cy="151958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chemeClr val="tx2"/>
                </a:solidFill>
              </a:defRPr>
            </a:lvl2pPr>
            <a:lvl3pPr marL="914400" indent="0">
              <a:buNone/>
              <a:defRPr sz="1400">
                <a:solidFill>
                  <a:schemeClr val="tx2"/>
                </a:solidFill>
              </a:defRPr>
            </a:lvl3pPr>
            <a:lvl4pPr marL="1371600" indent="0">
              <a:buNone/>
              <a:defRPr sz="1400">
                <a:solidFill>
                  <a:schemeClr val="tx2"/>
                </a:solidFill>
              </a:defRPr>
            </a:lvl4pPr>
            <a:lvl5pPr marL="1828800" indent="0"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6051" y="1456531"/>
            <a:ext cx="4376061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er 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CF28003-D125-4B04-9F3A-C5A0F24F0C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295900" cy="4586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 descr="Text&#10;&#10;Description automatically generated">
            <a:extLst>
              <a:ext uri="{FF2B5EF4-FFF2-40B4-BE49-F238E27FC236}">
                <a16:creationId xmlns:a16="http://schemas.microsoft.com/office/drawing/2014/main" id="{B0E7503D-D419-4203-92C9-358C16DADB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5995089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794" y="1440630"/>
            <a:ext cx="380386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0728" y="1676400"/>
            <a:ext cx="4997672" cy="3869932"/>
          </a:xfrm>
        </p:spPr>
        <p:txBody>
          <a:bodyPr lIns="0" tIns="0" rIns="0" bIns="0">
            <a:normAutofit/>
          </a:bodyPr>
          <a:lstStyle>
            <a:lvl1pPr marL="119063" indent="-119063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4488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1500" indent="-10636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0288" indent="-109538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2" y="6509189"/>
            <a:ext cx="9056980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443091-F422-4ABA-93B1-89E089D73A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DDAD4091-7095-485D-8839-ABCB2893A5CC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FA0D43D-7E8D-4478-9AD0-5563FCEB2C7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 slide oran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F72DCE5-76DE-B44F-B5EA-E331DFAC4B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0" b="16092"/>
          <a:stretch/>
        </p:blipFill>
        <p:spPr>
          <a:xfrm rot="10800000">
            <a:off x="0" y="1103586"/>
            <a:ext cx="12192000" cy="575441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67560" y="972642"/>
            <a:ext cx="9435579" cy="2429777"/>
          </a:xfrm>
        </p:spPr>
        <p:txBody>
          <a:bodyPr anchor="b"/>
          <a:lstStyle>
            <a:lvl1pPr algn="l">
              <a:defRPr sz="3600" b="1" spc="5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2B2B1A-532E-A74C-A004-E0588BDBBE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67560" y="3907773"/>
            <a:ext cx="9435580" cy="1238385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200" b="0" spc="5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06E01A-7715-0F48-86DA-B6315AFF34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7560" y="5922838"/>
            <a:ext cx="3786046" cy="365125"/>
          </a:xfrm>
          <a:prstGeom prst="rect">
            <a:avLst/>
          </a:prstGeom>
        </p:spPr>
        <p:txBody>
          <a:bodyPr/>
          <a:lstStyle>
            <a:lvl1pPr>
              <a:defRPr sz="1600" b="0" spc="100" baseline="0">
                <a:solidFill>
                  <a:srgbClr val="4A4F55"/>
                </a:solidFill>
              </a:defRPr>
            </a:lvl1pPr>
          </a:lstStyle>
          <a:p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9419077-7940-D845-82EF-F473224B9B10}"/>
              </a:ext>
            </a:extLst>
          </p:cNvPr>
          <p:cNvCxnSpPr>
            <a:cxnSpLocks/>
          </p:cNvCxnSpPr>
          <p:nvPr userDrawn="1"/>
        </p:nvCxnSpPr>
        <p:spPr>
          <a:xfrm>
            <a:off x="967560" y="3636345"/>
            <a:ext cx="10769169" cy="0"/>
          </a:xfrm>
          <a:prstGeom prst="line">
            <a:avLst/>
          </a:prstGeom>
          <a:ln w="254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7">
            <a:extLst>
              <a:ext uri="{FF2B5EF4-FFF2-40B4-BE49-F238E27FC236}">
                <a16:creationId xmlns:a16="http://schemas.microsoft.com/office/drawing/2014/main" id="{7ADB7768-B994-4A45-BF0A-032864A2A0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56350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fld id="{1F1F3A0D-D7F0-7644-AD00-52309B792B6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2E4826F-487E-0E4B-9C30-DE790D6B9D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4928" y="-136811"/>
            <a:ext cx="1400619" cy="1336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980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 lang="en-US" sz="3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0" y="6043612"/>
            <a:ext cx="11514667" cy="54133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0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0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7773440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74BC9767-F9D5-41EB-807E-DC5B086A71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F57E4C2-4E2E-4C68-A6E3-FAF916FF4EEF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8" descr="Text&#10;&#10;Description automatically generated">
            <a:extLst>
              <a:ext uri="{FF2B5EF4-FFF2-40B4-BE49-F238E27FC236}">
                <a16:creationId xmlns:a16="http://schemas.microsoft.com/office/drawing/2014/main" id="{85F36345-8389-4A4B-9B9D-5ECDBCCEEF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1701" y="1345851"/>
            <a:ext cx="11064241" cy="4351338"/>
          </a:xfrm>
        </p:spPr>
        <p:txBody>
          <a:bodyPr lIns="0" tIns="0" rIns="0" bIns="0">
            <a:normAutofit/>
          </a:bodyPr>
          <a:lstStyle>
            <a:lvl1pPr marL="115888" indent="-11588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4488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3088" indent="-107950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1688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0288" indent="-109538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2" y="6571559"/>
            <a:ext cx="9056979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EDBE443-B7AD-4CAB-98D8-44446BBD88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CBAE0B00-DA62-4F9A-9905-D132485A9ACB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06F0C37-802E-4CF0-8D09-7DF3250F00A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Slide_Un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F5ABB67A-C3F1-4B21-B295-168A898402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8C74A00-9BDB-4434-B681-3D214BCD450F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8" descr="Text&#10;&#10;Description automatically generated">
            <a:extLst>
              <a:ext uri="{FF2B5EF4-FFF2-40B4-BE49-F238E27FC236}">
                <a16:creationId xmlns:a16="http://schemas.microsoft.com/office/drawing/2014/main" id="{78AA31BD-A6D4-499D-8334-63477D9FDB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1701" y="1346456"/>
            <a:ext cx="11064241" cy="4351338"/>
          </a:xfrm>
        </p:spPr>
        <p:txBody>
          <a:bodyPr lIns="0" tIns="0" rIns="0" bIns="0">
            <a:normAutofit/>
          </a:bodyPr>
          <a:lstStyle>
            <a:lvl1pPr marL="114300" indent="-1143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6075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6263" indent="-111125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1688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1875" indent="-111125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1" y="6509189"/>
            <a:ext cx="9471299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DEFE44C-51FE-4E52-8F4A-5DD92DBFCF7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AB947943-C606-4ED7-BDDC-8188EAA33D75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6B71D7-CCDB-4FAF-B212-A505573354A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2 Content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C909890B-1AAC-493C-BD56-63278A49C72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3735EA9-0DB8-4B5C-B1C5-5F42A4313C9A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8" descr="Text&#10;&#10;Description automatically generated">
            <a:extLst>
              <a:ext uri="{FF2B5EF4-FFF2-40B4-BE49-F238E27FC236}">
                <a16:creationId xmlns:a16="http://schemas.microsoft.com/office/drawing/2014/main" id="{D8FD1FC9-CA93-458A-BF9C-55859FE9D0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12341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0" y="210312"/>
            <a:ext cx="10515600" cy="850392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1700" y="1346456"/>
            <a:ext cx="4937760" cy="4351338"/>
          </a:xfrm>
        </p:spPr>
        <p:txBody>
          <a:bodyPr lIns="0" tIns="0" rIns="0" bIns="0">
            <a:normAutofit/>
          </a:bodyPr>
          <a:lstStyle>
            <a:lvl1pPr marL="122238" indent="-12223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9250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7850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3463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6139542" y="1346456"/>
            <a:ext cx="4937760" cy="4351338"/>
          </a:xfrm>
        </p:spPr>
        <p:txBody>
          <a:bodyPr lIns="0" tIns="0" rIns="0" bIns="0">
            <a:normAutofit/>
          </a:bodyPr>
          <a:lstStyle>
            <a:lvl1pPr marL="122238" indent="-12223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9250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7850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22238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3463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699" y="6571559"/>
            <a:ext cx="9051521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DE03FDF-9AA2-44EC-8CCC-FBD59577F1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9725" y="6462713"/>
            <a:ext cx="277813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A3DA53F4-57F0-48B1-9791-7EE34C979161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68A1770-BD92-482E-A50D-6560C7F6028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C2ED7D8D-4CFF-4687-832E-D7564B066A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6E0F5A6-FDDE-4DBB-AB41-0F3FE5925F1A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8" descr="Text&#10;&#10;Description automatically generated">
            <a:extLst>
              <a:ext uri="{FF2B5EF4-FFF2-40B4-BE49-F238E27FC236}">
                <a16:creationId xmlns:a16="http://schemas.microsoft.com/office/drawing/2014/main" id="{5E5DCD8F-F7BD-4AFC-BC2B-282A2C03509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2" y="6509189"/>
            <a:ext cx="9056980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E09261-9E53-423B-BE45-8BC02FEF017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6995DCC3-C1E0-4209-B893-2DE21D125AC3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855E7A-DDFB-465A-B094-14CD82EF6D8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Text&#10;&#10;Description automatically generated">
            <a:extLst>
              <a:ext uri="{FF2B5EF4-FFF2-40B4-BE49-F238E27FC236}">
                <a16:creationId xmlns:a16="http://schemas.microsoft.com/office/drawing/2014/main" id="{73DE7B9A-B217-4157-99FD-D58D616A73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1ADD0E-539A-4505-BCB8-0C71E7B770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11695EF4-6BAA-480B-B516-B23915D9AC24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8DECD5-88FD-4DC2-B8D1-6EDE10385F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Text&#10;&#10;Description automatically generated">
            <a:extLst>
              <a:ext uri="{FF2B5EF4-FFF2-40B4-BE49-F238E27FC236}">
                <a16:creationId xmlns:a16="http://schemas.microsoft.com/office/drawing/2014/main" id="{1655A344-D7FA-498E-BFDF-393C0C3E02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0456D4C-9315-4F2B-9EB6-9B2A5962E50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8BA1A8DB-8491-4E55-BBF7-843859B073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7" t="26453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>
            <a:extLst>
              <a:ext uri="{FF2B5EF4-FFF2-40B4-BE49-F238E27FC236}">
                <a16:creationId xmlns:a16="http://schemas.microsoft.com/office/drawing/2014/main" id="{702E6477-E956-4D79-BC73-8786B59E81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138" y="631825"/>
            <a:ext cx="168910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 descr="Text&#10;&#10;Description automatically generated">
            <a:extLst>
              <a:ext uri="{FF2B5EF4-FFF2-40B4-BE49-F238E27FC236}">
                <a16:creationId xmlns:a16="http://schemas.microsoft.com/office/drawing/2014/main" id="{DE8D4E1F-B643-4285-8F5D-0982DE20A5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9721" y="1522752"/>
            <a:ext cx="4671827" cy="2149274"/>
          </a:xfrm>
        </p:spPr>
        <p:txBody>
          <a:bodyPr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9721" y="3873195"/>
            <a:ext cx="4671827" cy="873868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3F31501-C11D-4735-89C9-6EA10362AC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8" name="Rubrik 7">
            <a:extLst>
              <a:ext uri="{FF2B5EF4-FFF2-40B4-BE49-F238E27FC236}">
                <a16:creationId xmlns:a16="http://schemas.microsoft.com/office/drawing/2014/main" id="{F98502F9-C858-4602-98B4-ADB04E6C42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0" name="Platshållare för bildnummer 9">
            <a:extLst>
              <a:ext uri="{FF2B5EF4-FFF2-40B4-BE49-F238E27FC236}">
                <a16:creationId xmlns:a16="http://schemas.microsoft.com/office/drawing/2014/main" id="{028F6DB5-8B02-4882-AA7D-C2EAB98694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06B0CF-28DA-4AF7-AD0B-CB9D5901F647}" type="slidenum">
              <a:rPr lang="sv-SE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sv-SE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BA23B167-3C1F-40B1-8D58-4A9EE26435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6762" y="6585431"/>
            <a:ext cx="10659600" cy="124650"/>
          </a:xfrm>
        </p:spPr>
        <p:txBody>
          <a:bodyPr anchor="b">
            <a:spAutoFit/>
          </a:bodyPr>
          <a:lstStyle>
            <a:lvl1pPr marL="0" indent="0">
              <a:buNone/>
              <a:defRPr sz="900">
                <a:solidFill>
                  <a:schemeClr val="bg2">
                    <a:lumMod val="75000"/>
                  </a:schemeClr>
                </a:solidFill>
              </a:defRPr>
            </a:lvl1pPr>
            <a:lvl2pPr marL="182562" indent="0">
              <a:buNone/>
              <a:defRPr/>
            </a:lvl2pPr>
          </a:lstStyle>
          <a:p>
            <a:pPr lvl="0"/>
            <a:r>
              <a:rPr lang="sv-SE" err="1"/>
              <a:t>References</a:t>
            </a:r>
            <a:endParaRPr lang="sv-SE"/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-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latshållare för bild 65">
            <a:extLst>
              <a:ext uri="{FF2B5EF4-FFF2-40B4-BE49-F238E27FC236}">
                <a16:creationId xmlns:a16="http://schemas.microsoft.com/office/drawing/2014/main" id="{09791C55-72D3-4450-917F-90D7845D4C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540004"/>
            <a:ext cx="12191998" cy="6317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Underrubrik 2">
            <a:extLst>
              <a:ext uri="{FF2B5EF4-FFF2-40B4-BE49-F238E27FC236}">
                <a16:creationId xmlns:a16="http://schemas.microsoft.com/office/drawing/2014/main" id="{BB164291-5C0A-4431-8904-0C6D2C1410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66714" y="5412376"/>
            <a:ext cx="3265488" cy="783772"/>
          </a:xfrm>
        </p:spPr>
        <p:txBody>
          <a:bodyPr anchor="ctr">
            <a:norm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50" name="Platshållare för text 16">
            <a:extLst>
              <a:ext uri="{FF2B5EF4-FFF2-40B4-BE49-F238E27FC236}">
                <a16:creationId xmlns:a16="http://schemas.microsoft.com/office/drawing/2014/main" id="{351C647C-20C4-4484-8B20-0A940446797A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057050" y="5548993"/>
            <a:ext cx="510539" cy="510539"/>
          </a:xfrm>
          <a:custGeom>
            <a:avLst/>
            <a:gdLst>
              <a:gd name="connsiteX0" fmla="*/ 362857 w 725714"/>
              <a:gd name="connsiteY0" fmla="*/ 0 h 725714"/>
              <a:gd name="connsiteX1" fmla="*/ 725714 w 725714"/>
              <a:gd name="connsiteY1" fmla="*/ 362857 h 725714"/>
              <a:gd name="connsiteX2" fmla="*/ 362857 w 725714"/>
              <a:gd name="connsiteY2" fmla="*/ 725714 h 725714"/>
              <a:gd name="connsiteX3" fmla="*/ 0 w 725714"/>
              <a:gd name="connsiteY3" fmla="*/ 362857 h 725714"/>
              <a:gd name="connsiteX4" fmla="*/ 362857 w 725714"/>
              <a:gd name="connsiteY4" fmla="*/ 0 h 725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714" h="725714">
                <a:moveTo>
                  <a:pt x="362857" y="0"/>
                </a:moveTo>
                <a:cubicBezTo>
                  <a:pt x="563257" y="0"/>
                  <a:pt x="725714" y="162457"/>
                  <a:pt x="725714" y="362857"/>
                </a:cubicBezTo>
                <a:cubicBezTo>
                  <a:pt x="725714" y="563257"/>
                  <a:pt x="563257" y="725714"/>
                  <a:pt x="362857" y="725714"/>
                </a:cubicBezTo>
                <a:cubicBezTo>
                  <a:pt x="162457" y="725714"/>
                  <a:pt x="0" y="563257"/>
                  <a:pt x="0" y="362857"/>
                </a:cubicBezTo>
                <a:cubicBezTo>
                  <a:pt x="0" y="162457"/>
                  <a:pt x="162457" y="0"/>
                  <a:pt x="362857" y="0"/>
                </a:cubicBezTo>
                <a:close/>
              </a:path>
            </a:pathLst>
          </a:custGeom>
          <a:solidFill>
            <a:schemeClr val="accent1">
              <a:alpha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</a:p>
        </p:txBody>
      </p:sp>
      <p:sp>
        <p:nvSpPr>
          <p:cNvPr id="12" name="Rubrik 11">
            <a:extLst>
              <a:ext uri="{FF2B5EF4-FFF2-40B4-BE49-F238E27FC236}">
                <a16:creationId xmlns:a16="http://schemas.microsoft.com/office/drawing/2014/main" id="{53FE9DF3-5084-4B08-9B7C-DE0BD65AF9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1143" y="1364572"/>
            <a:ext cx="3182258" cy="365918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1"/>
            <a:tileRect/>
          </a:gradFill>
        </p:spPr>
        <p:txBody>
          <a:bodyPr wrap="square" lIns="216000" tIns="108000" rIns="612000" bIns="108000" anchor="ctr" anchorCtr="1">
            <a:noAutofit/>
          </a:bodyPr>
          <a:lstStyle>
            <a:lvl1pPr algn="ctr">
              <a:defRPr sz="3400" b="1">
                <a:solidFill>
                  <a:schemeClr val="bg1"/>
                </a:solidFill>
              </a:defRPr>
            </a:lvl1pPr>
          </a:lstStyle>
          <a:p>
            <a:r>
              <a:rPr lang="sv-SE" err="1"/>
              <a:t>Title</a:t>
            </a:r>
            <a:endParaRPr lang="sv-SE"/>
          </a:p>
        </p:txBody>
      </p:sp>
      <p:sp>
        <p:nvSpPr>
          <p:cNvPr id="13" name="Platshållare för text 6">
            <a:extLst>
              <a:ext uri="{FF2B5EF4-FFF2-40B4-BE49-F238E27FC236}">
                <a16:creationId xmlns:a16="http://schemas.microsoft.com/office/drawing/2014/main" id="{710B371E-DEBF-4CE2-879A-1206B83182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96630" y="4567238"/>
            <a:ext cx="1915200" cy="311150"/>
          </a:xfrm>
          <a:blipFill>
            <a:blip r:embed="rId2"/>
            <a:stretch>
              <a:fillRect/>
            </a:stretch>
          </a:blipFill>
        </p:spPr>
        <p:txBody>
          <a:bodyPr wrap="non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A77CA6DC-4C83-4253-9506-1A6C00544C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6766" y="1364571"/>
            <a:ext cx="394377" cy="3659186"/>
          </a:xfrm>
          <a:custGeom>
            <a:avLst/>
            <a:gdLst>
              <a:gd name="connsiteX0" fmla="*/ 0 w 394377"/>
              <a:gd name="connsiteY0" fmla="*/ 0 h 3659186"/>
              <a:gd name="connsiteX1" fmla="*/ 394377 w 394377"/>
              <a:gd name="connsiteY1" fmla="*/ 0 h 3659186"/>
              <a:gd name="connsiteX2" fmla="*/ 394377 w 394377"/>
              <a:gd name="connsiteY2" fmla="*/ 3659186 h 3659186"/>
              <a:gd name="connsiteX3" fmla="*/ 0 w 394377"/>
              <a:gd name="connsiteY3" fmla="*/ 3659186 h 3659186"/>
              <a:gd name="connsiteX4" fmla="*/ 0 w 394377"/>
              <a:gd name="connsiteY4" fmla="*/ 649528 h 3659186"/>
              <a:gd name="connsiteX5" fmla="*/ 32529 w 394377"/>
              <a:gd name="connsiteY5" fmla="*/ 639431 h 3659186"/>
              <a:gd name="connsiteX6" fmla="*/ 188436 w 394377"/>
              <a:gd name="connsiteY6" fmla="*/ 404222 h 3659186"/>
              <a:gd name="connsiteX7" fmla="*/ 32529 w 394377"/>
              <a:gd name="connsiteY7" fmla="*/ 169012 h 3659186"/>
              <a:gd name="connsiteX8" fmla="*/ 0 w 394377"/>
              <a:gd name="connsiteY8" fmla="*/ 158915 h 365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377" h="3659186">
                <a:moveTo>
                  <a:pt x="0" y="0"/>
                </a:moveTo>
                <a:lnTo>
                  <a:pt x="394377" y="0"/>
                </a:lnTo>
                <a:lnTo>
                  <a:pt x="394377" y="3659186"/>
                </a:lnTo>
                <a:lnTo>
                  <a:pt x="0" y="3659186"/>
                </a:lnTo>
                <a:lnTo>
                  <a:pt x="0" y="649528"/>
                </a:lnTo>
                <a:lnTo>
                  <a:pt x="32529" y="639431"/>
                </a:lnTo>
                <a:cubicBezTo>
                  <a:pt x="124149" y="600679"/>
                  <a:pt x="188436" y="509958"/>
                  <a:pt x="188436" y="404222"/>
                </a:cubicBezTo>
                <a:cubicBezTo>
                  <a:pt x="188436" y="298486"/>
                  <a:pt x="124149" y="207765"/>
                  <a:pt x="32529" y="169012"/>
                </a:cubicBezTo>
                <a:lnTo>
                  <a:pt x="0" y="15891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1"/>
          </a:gradFill>
        </p:spPr>
        <p:txBody>
          <a:bodyPr wrap="non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21955-1868-7F44-BF31-9037E7A701BA}" type="datetimeFigureOut">
              <a:rPr lang="en-US" smtClean="0">
                <a:solidFill>
                  <a:srgbClr val="333333">
                    <a:tint val="75000"/>
                  </a:srgbClr>
                </a:solidFill>
              </a:rPr>
              <a:pPr/>
              <a:t>2/2/2024</a:t>
            </a:fld>
            <a:endParaRPr lang="en-US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7E1ADD-CF61-4048-9F45-9EAEE645C569}" type="slidenum">
              <a:rPr lang="en-US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333333">
                  <a:tint val="75000"/>
                </a:srgb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022351"/>
            <a:ext cx="10363200" cy="1470025"/>
          </a:xfrm>
        </p:spPr>
        <p:txBody>
          <a:bodyPr anchor="b"/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0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381375"/>
            <a:ext cx="85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8593473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63ADD123-CF65-473C-A0EE-A1C55ECB0B6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27" t="25417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Text&#10;&#10;Description automatically generated">
            <a:extLst>
              <a:ext uri="{FF2B5EF4-FFF2-40B4-BE49-F238E27FC236}">
                <a16:creationId xmlns:a16="http://schemas.microsoft.com/office/drawing/2014/main" id="{A5F54CF2-A554-458A-B812-73CFB270A7F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93000" y="901700"/>
            <a:ext cx="4290944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93000" y="3429000"/>
            <a:ext cx="4290944" cy="10609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F638119B-DA72-429D-B50D-F2BF8D9949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7" t="26453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Text&#10;&#10;Description automatically generated">
            <a:extLst>
              <a:ext uri="{FF2B5EF4-FFF2-40B4-BE49-F238E27FC236}">
                <a16:creationId xmlns:a16="http://schemas.microsoft.com/office/drawing/2014/main" id="{4A0F2C23-8209-48CA-A67C-85D1C798A6E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901700"/>
            <a:ext cx="4290944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97280" y="3429000"/>
            <a:ext cx="4290944" cy="10609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 w/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679921A0-FB50-4144-A6BB-7AFFE9C046B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7" t="26453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Text&#10;&#10;Description automatically generated">
            <a:extLst>
              <a:ext uri="{FF2B5EF4-FFF2-40B4-BE49-F238E27FC236}">
                <a16:creationId xmlns:a16="http://schemas.microsoft.com/office/drawing/2014/main" id="{C40D1FAB-BAE6-45DB-B5EC-6D54361DB84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493000" y="2909668"/>
            <a:ext cx="4290944" cy="600559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7493000" y="3618621"/>
            <a:ext cx="4291013" cy="151958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chemeClr val="tx2"/>
                </a:solidFill>
              </a:defRPr>
            </a:lvl2pPr>
            <a:lvl3pPr marL="914400" indent="0">
              <a:buNone/>
              <a:defRPr sz="1400">
                <a:solidFill>
                  <a:schemeClr val="tx2"/>
                </a:solidFill>
              </a:defRPr>
            </a:lvl3pPr>
            <a:lvl4pPr marL="1371600" indent="0">
              <a:buNone/>
              <a:defRPr sz="1400">
                <a:solidFill>
                  <a:schemeClr val="tx2"/>
                </a:solidFill>
              </a:defRPr>
            </a:lvl4pPr>
            <a:lvl5pPr marL="1828800" indent="0"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6051" y="1456531"/>
            <a:ext cx="4376061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horter 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CF28003-D125-4B04-9F3A-C5A0F24F0C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295900" cy="4586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7" descr="Text&#10;&#10;Description automatically generated">
            <a:extLst>
              <a:ext uri="{FF2B5EF4-FFF2-40B4-BE49-F238E27FC236}">
                <a16:creationId xmlns:a16="http://schemas.microsoft.com/office/drawing/2014/main" id="{B0E7503D-D419-4203-92C9-358C16DADBC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5995089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4794" y="1440630"/>
            <a:ext cx="380386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30728" y="1676400"/>
            <a:ext cx="4997672" cy="3869932"/>
          </a:xfrm>
        </p:spPr>
        <p:txBody>
          <a:bodyPr lIns="0" tIns="0" rIns="0" bIns="0">
            <a:normAutofit/>
          </a:bodyPr>
          <a:lstStyle>
            <a:lvl1pPr marL="119063" indent="-119063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4488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1500" indent="-10636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0288" indent="-109538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2" y="6509189"/>
            <a:ext cx="9056980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443091-F422-4ABA-93B1-89E089D73A6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DDAD4091-7095-485D-8839-ABCB2893A5CC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FA0D43D-7E8D-4478-9AD0-5563FCEB2C7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74BC9767-F9D5-41EB-807E-DC5B086A71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F57E4C2-4E2E-4C68-A6E3-FAF916FF4EEF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8" descr="Text&#10;&#10;Description automatically generated">
            <a:extLst>
              <a:ext uri="{FF2B5EF4-FFF2-40B4-BE49-F238E27FC236}">
                <a16:creationId xmlns:a16="http://schemas.microsoft.com/office/drawing/2014/main" id="{85F36345-8389-4A4B-9B9D-5ECDBCCEEF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1701" y="1345851"/>
            <a:ext cx="11064241" cy="4351338"/>
          </a:xfrm>
        </p:spPr>
        <p:txBody>
          <a:bodyPr lIns="0" tIns="0" rIns="0" bIns="0">
            <a:normAutofit/>
          </a:bodyPr>
          <a:lstStyle>
            <a:lvl1pPr marL="115888" indent="-11588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4488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3088" indent="-107950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1688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0288" indent="-109538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2" y="6571559"/>
            <a:ext cx="9056979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EDBE443-B7AD-4CAB-98D8-44446BBD88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CBAE0B00-DA62-4F9A-9905-D132485A9ACB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06F0C37-802E-4CF0-8D09-7DF3250F00A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Slide_Un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F5ABB67A-C3F1-4B21-B295-168A8984024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E8C74A00-9BDB-4434-B681-3D214BCD450F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8" descr="Text&#10;&#10;Description automatically generated">
            <a:extLst>
              <a:ext uri="{FF2B5EF4-FFF2-40B4-BE49-F238E27FC236}">
                <a16:creationId xmlns:a16="http://schemas.microsoft.com/office/drawing/2014/main" id="{78AA31BD-A6D4-499D-8334-63477D9FDB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1701" y="1346456"/>
            <a:ext cx="11064241" cy="4351338"/>
          </a:xfrm>
        </p:spPr>
        <p:txBody>
          <a:bodyPr lIns="0" tIns="0" rIns="0" bIns="0">
            <a:normAutofit/>
          </a:bodyPr>
          <a:lstStyle>
            <a:lvl1pPr marL="114300" indent="-1143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6075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6263" indent="-111125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1688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1875" indent="-111125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1" y="6509189"/>
            <a:ext cx="9471299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DEFE44C-51FE-4E52-8F4A-5DD92DBFCF7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AB947943-C606-4ED7-BDDC-8188EAA33D75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6B71D7-CCDB-4FAF-B212-A505573354A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2 Content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C909890B-1AAC-493C-BD56-63278A49C72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3735EA9-0DB8-4B5C-B1C5-5F42A4313C9A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8" descr="Text&#10;&#10;Description automatically generated">
            <a:extLst>
              <a:ext uri="{FF2B5EF4-FFF2-40B4-BE49-F238E27FC236}">
                <a16:creationId xmlns:a16="http://schemas.microsoft.com/office/drawing/2014/main" id="{D8FD1FC9-CA93-458A-BF9C-55859FE9D0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12341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0" y="210312"/>
            <a:ext cx="10515600" cy="850392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1700" y="1346456"/>
            <a:ext cx="4937760" cy="4351338"/>
          </a:xfrm>
        </p:spPr>
        <p:txBody>
          <a:bodyPr lIns="0" tIns="0" rIns="0" bIns="0">
            <a:normAutofit/>
          </a:bodyPr>
          <a:lstStyle>
            <a:lvl1pPr marL="122238" indent="-12223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9250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7850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3463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3"/>
          </p:nvPr>
        </p:nvSpPr>
        <p:spPr>
          <a:xfrm>
            <a:off x="6139542" y="1346456"/>
            <a:ext cx="4937760" cy="4351338"/>
          </a:xfrm>
        </p:spPr>
        <p:txBody>
          <a:bodyPr lIns="0" tIns="0" rIns="0" bIns="0">
            <a:normAutofit/>
          </a:bodyPr>
          <a:lstStyle>
            <a:lvl1pPr marL="122238" indent="-12223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9250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7850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22238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3463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699" y="6571559"/>
            <a:ext cx="9051521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DE03FDF-9AA2-44EC-8CCC-FBD59577F13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9725" y="6462713"/>
            <a:ext cx="277813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A3DA53F4-57F0-48B1-9791-7EE34C979161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68A1770-BD92-482E-A50D-6560C7F6028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C2ED7D8D-4CFF-4687-832E-D7564B066A8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25263" y="-7938"/>
            <a:ext cx="568325" cy="152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6E0F5A6-FDDE-4DBB-AB41-0F3FE5925F1A}"/>
              </a:ext>
            </a:extLst>
          </p:cNvPr>
          <p:cNvCxnSpPr>
            <a:cxnSpLocks/>
          </p:cNvCxnSpPr>
          <p:nvPr userDrawn="1"/>
        </p:nvCxnSpPr>
        <p:spPr>
          <a:xfrm>
            <a:off x="561975" y="1127125"/>
            <a:ext cx="1173163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8" descr="Text&#10;&#10;Description automatically generated">
            <a:extLst>
              <a:ext uri="{FF2B5EF4-FFF2-40B4-BE49-F238E27FC236}">
                <a16:creationId xmlns:a16="http://schemas.microsoft.com/office/drawing/2014/main" id="{5E5DCD8F-F7BD-4AFC-BC2B-282A2C03509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61702" y="6509189"/>
            <a:ext cx="9056980" cy="138499"/>
          </a:xfrm>
        </p:spPr>
        <p:txBody>
          <a:bodyPr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E09261-9E53-423B-BE45-8BC02FEF017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6995DCC3-C1E0-4209-B893-2DE21D125AC3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F855E7A-DDFB-465A-B094-14CD82EF6D8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Text&#10;&#10;Description automatically generated">
            <a:extLst>
              <a:ext uri="{FF2B5EF4-FFF2-40B4-BE49-F238E27FC236}">
                <a16:creationId xmlns:a16="http://schemas.microsoft.com/office/drawing/2014/main" id="{73DE7B9A-B217-4157-99FD-D58D616A73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6C1ADD0E-539A-4505-BCB8-0C71E7B770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764963" y="6462713"/>
            <a:ext cx="276225" cy="185737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pPr>
              <a:defRPr/>
            </a:pPr>
            <a:fld id="{11695EF4-6BAA-480B-B516-B23915D9AC24}" type="slidenum">
              <a:rPr lang="en-US">
                <a:solidFill>
                  <a:srgbClr val="594986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594986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98DECD5-88FD-4DC2-B8D1-6EDE10385F6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8724539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Text&#10;&#10;Description automatically generated">
            <a:extLst>
              <a:ext uri="{FF2B5EF4-FFF2-40B4-BE49-F238E27FC236}">
                <a16:creationId xmlns:a16="http://schemas.microsoft.com/office/drawing/2014/main" id="{1655A344-D7FA-498E-BFDF-393C0C3E02E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45638" y="6003715"/>
            <a:ext cx="1857375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60456D4C-9315-4F2B-9EB6-9B2A5962E50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685175" y="6206013"/>
            <a:ext cx="1798921" cy="5134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8BA1A8DB-8491-4E55-BBF7-843859B073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17" t="26453"/>
          <a:stretch>
            <a:fillRect/>
          </a:stretch>
        </p:blipFill>
        <p:spPr bwMode="auto">
          <a:xfrm>
            <a:off x="0" y="0"/>
            <a:ext cx="7051675" cy="567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>
            <a:extLst>
              <a:ext uri="{FF2B5EF4-FFF2-40B4-BE49-F238E27FC236}">
                <a16:creationId xmlns:a16="http://schemas.microsoft.com/office/drawing/2014/main" id="{702E6477-E956-4D79-BC73-8786B59E81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17138" y="631825"/>
            <a:ext cx="1689100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9" descr="Text&#10;&#10;Description automatically generated">
            <a:extLst>
              <a:ext uri="{FF2B5EF4-FFF2-40B4-BE49-F238E27FC236}">
                <a16:creationId xmlns:a16="http://schemas.microsoft.com/office/drawing/2014/main" id="{DE8D4E1F-B643-4285-8F5D-0982DE20A56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225" y="5248275"/>
            <a:ext cx="3716338" cy="1714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9721" y="1522752"/>
            <a:ext cx="4671827" cy="2149274"/>
          </a:xfrm>
        </p:spPr>
        <p:txBody>
          <a:bodyPr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9721" y="3873195"/>
            <a:ext cx="4671827" cy="873868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nly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53A41C6-115B-4C37-B753-85FE96DA63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8" name="Platshållare för bildnummer 7">
            <a:extLst>
              <a:ext uri="{FF2B5EF4-FFF2-40B4-BE49-F238E27FC236}">
                <a16:creationId xmlns:a16="http://schemas.microsoft.com/office/drawing/2014/main" id="{9FDAF643-70C9-49FD-9A46-643A8ACC92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06B0CF-28DA-4AF7-AD0B-CB9D5901F647}" type="slidenum">
              <a:rPr lang="sv-SE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sv-SE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9" name="Platshållare för text 11">
            <a:extLst>
              <a:ext uri="{FF2B5EF4-FFF2-40B4-BE49-F238E27FC236}">
                <a16:creationId xmlns:a16="http://schemas.microsoft.com/office/drawing/2014/main" id="{3F77ADDB-FEA9-4C18-8D4E-716FF5A1699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6762" y="6585431"/>
            <a:ext cx="10659600" cy="124650"/>
          </a:xfrm>
        </p:spPr>
        <p:txBody>
          <a:bodyPr anchor="b">
            <a:spAutoFit/>
          </a:bodyPr>
          <a:lstStyle>
            <a:lvl1pPr marL="0" indent="0">
              <a:buNone/>
              <a:defRPr sz="900">
                <a:solidFill>
                  <a:schemeClr val="bg2">
                    <a:lumMod val="75000"/>
                  </a:schemeClr>
                </a:solidFill>
              </a:defRPr>
            </a:lvl1pPr>
            <a:lvl2pPr marL="182562" indent="0">
              <a:buNone/>
              <a:defRPr/>
            </a:lvl2pPr>
          </a:lstStyle>
          <a:p>
            <a:pPr lvl="0"/>
            <a:r>
              <a:rPr lang="sv-SE" err="1"/>
              <a:t>References</a:t>
            </a:r>
            <a:endParaRPr lang="sv-SE"/>
          </a:p>
        </p:txBody>
      </p:sp>
    </p:spTree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adlin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3F31501-C11D-4735-89C9-6EA10362ACA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8" name="Rubrik 7">
            <a:extLst>
              <a:ext uri="{FF2B5EF4-FFF2-40B4-BE49-F238E27FC236}">
                <a16:creationId xmlns:a16="http://schemas.microsoft.com/office/drawing/2014/main" id="{F98502F9-C858-4602-98B4-ADB04E6C42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0" name="Platshållare för bildnummer 9">
            <a:extLst>
              <a:ext uri="{FF2B5EF4-FFF2-40B4-BE49-F238E27FC236}">
                <a16:creationId xmlns:a16="http://schemas.microsoft.com/office/drawing/2014/main" id="{028F6DB5-8B02-4882-AA7D-C2EAB986941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306B0CF-28DA-4AF7-AD0B-CB9D5901F647}" type="slidenum">
              <a:rPr lang="sv-SE" smtClean="0">
                <a:solidFill>
                  <a:srgbClr val="333333">
                    <a:tint val="75000"/>
                  </a:srgbClr>
                </a:solidFill>
              </a:rPr>
              <a:pPr/>
              <a:t>‹#›</a:t>
            </a:fld>
            <a:endParaRPr lang="sv-SE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12" name="Platshållare för text 11">
            <a:extLst>
              <a:ext uri="{FF2B5EF4-FFF2-40B4-BE49-F238E27FC236}">
                <a16:creationId xmlns:a16="http://schemas.microsoft.com/office/drawing/2014/main" id="{BA23B167-3C1F-40B1-8D58-4A9EE26435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6762" y="6585431"/>
            <a:ext cx="10659600" cy="124650"/>
          </a:xfrm>
        </p:spPr>
        <p:txBody>
          <a:bodyPr anchor="b">
            <a:spAutoFit/>
          </a:bodyPr>
          <a:lstStyle>
            <a:lvl1pPr marL="0" indent="0">
              <a:buNone/>
              <a:defRPr sz="900">
                <a:solidFill>
                  <a:schemeClr val="bg2">
                    <a:lumMod val="75000"/>
                  </a:schemeClr>
                </a:solidFill>
              </a:defRPr>
            </a:lvl1pPr>
            <a:lvl2pPr marL="182562" indent="0">
              <a:buNone/>
              <a:defRPr/>
            </a:lvl2pPr>
          </a:lstStyle>
          <a:p>
            <a:pPr lvl="0"/>
            <a:r>
              <a:rPr lang="sv-SE" err="1"/>
              <a:t>References</a:t>
            </a:r>
            <a:endParaRPr lang="sv-SE"/>
          </a:p>
        </p:txBody>
      </p:sp>
    </p:spTree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-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latshållare för bild 65">
            <a:extLst>
              <a:ext uri="{FF2B5EF4-FFF2-40B4-BE49-F238E27FC236}">
                <a16:creationId xmlns:a16="http://schemas.microsoft.com/office/drawing/2014/main" id="{09791C55-72D3-4450-917F-90D7845D4CB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" y="540004"/>
            <a:ext cx="12191998" cy="631799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noAutofit/>
          </a:bodyPr>
          <a:lstStyle/>
          <a:p>
            <a:r>
              <a:rPr lang="sv-SE"/>
              <a:t>Klicka på ikonen för att lägga till en bild</a:t>
            </a:r>
          </a:p>
        </p:txBody>
      </p:sp>
      <p:sp>
        <p:nvSpPr>
          <p:cNvPr id="8" name="Underrubrik 2">
            <a:extLst>
              <a:ext uri="{FF2B5EF4-FFF2-40B4-BE49-F238E27FC236}">
                <a16:creationId xmlns:a16="http://schemas.microsoft.com/office/drawing/2014/main" id="{BB164291-5C0A-4431-8904-0C6D2C1410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66714" y="5412376"/>
            <a:ext cx="3265488" cy="783772"/>
          </a:xfrm>
        </p:spPr>
        <p:txBody>
          <a:bodyPr anchor="ctr">
            <a:norm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50" name="Platshållare för text 16">
            <a:extLst>
              <a:ext uri="{FF2B5EF4-FFF2-40B4-BE49-F238E27FC236}">
                <a16:creationId xmlns:a16="http://schemas.microsoft.com/office/drawing/2014/main" id="{351C647C-20C4-4484-8B20-0A940446797A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1057050" y="5548993"/>
            <a:ext cx="510539" cy="510539"/>
          </a:xfrm>
          <a:custGeom>
            <a:avLst/>
            <a:gdLst>
              <a:gd name="connsiteX0" fmla="*/ 362857 w 725714"/>
              <a:gd name="connsiteY0" fmla="*/ 0 h 725714"/>
              <a:gd name="connsiteX1" fmla="*/ 725714 w 725714"/>
              <a:gd name="connsiteY1" fmla="*/ 362857 h 725714"/>
              <a:gd name="connsiteX2" fmla="*/ 362857 w 725714"/>
              <a:gd name="connsiteY2" fmla="*/ 725714 h 725714"/>
              <a:gd name="connsiteX3" fmla="*/ 0 w 725714"/>
              <a:gd name="connsiteY3" fmla="*/ 362857 h 725714"/>
              <a:gd name="connsiteX4" fmla="*/ 362857 w 725714"/>
              <a:gd name="connsiteY4" fmla="*/ 0 h 725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5714" h="725714">
                <a:moveTo>
                  <a:pt x="362857" y="0"/>
                </a:moveTo>
                <a:cubicBezTo>
                  <a:pt x="563257" y="0"/>
                  <a:pt x="725714" y="162457"/>
                  <a:pt x="725714" y="362857"/>
                </a:cubicBezTo>
                <a:cubicBezTo>
                  <a:pt x="725714" y="563257"/>
                  <a:pt x="563257" y="725714"/>
                  <a:pt x="362857" y="725714"/>
                </a:cubicBezTo>
                <a:cubicBezTo>
                  <a:pt x="162457" y="725714"/>
                  <a:pt x="0" y="563257"/>
                  <a:pt x="0" y="362857"/>
                </a:cubicBezTo>
                <a:cubicBezTo>
                  <a:pt x="0" y="162457"/>
                  <a:pt x="162457" y="0"/>
                  <a:pt x="362857" y="0"/>
                </a:cubicBezTo>
                <a:close/>
              </a:path>
            </a:pathLst>
          </a:custGeom>
          <a:solidFill>
            <a:schemeClr val="accent1">
              <a:alpha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</a:p>
        </p:txBody>
      </p:sp>
      <p:sp>
        <p:nvSpPr>
          <p:cNvPr id="12" name="Rubrik 11">
            <a:extLst>
              <a:ext uri="{FF2B5EF4-FFF2-40B4-BE49-F238E27FC236}">
                <a16:creationId xmlns:a16="http://schemas.microsoft.com/office/drawing/2014/main" id="{53FE9DF3-5084-4B08-9B7C-DE0BD65AF9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61143" y="1364572"/>
            <a:ext cx="3182258" cy="3659186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1"/>
            <a:tileRect/>
          </a:gradFill>
        </p:spPr>
        <p:txBody>
          <a:bodyPr wrap="square" lIns="216000" tIns="108000" rIns="612000" bIns="108000" anchor="ctr" anchorCtr="1">
            <a:noAutofit/>
          </a:bodyPr>
          <a:lstStyle>
            <a:lvl1pPr algn="ctr">
              <a:defRPr sz="3400" b="1">
                <a:solidFill>
                  <a:schemeClr val="bg1"/>
                </a:solidFill>
              </a:defRPr>
            </a:lvl1pPr>
          </a:lstStyle>
          <a:p>
            <a:r>
              <a:rPr lang="sv-SE" err="1"/>
              <a:t>Title</a:t>
            </a:r>
            <a:endParaRPr lang="sv-SE"/>
          </a:p>
        </p:txBody>
      </p:sp>
      <p:sp>
        <p:nvSpPr>
          <p:cNvPr id="13" name="Platshållare för text 6">
            <a:extLst>
              <a:ext uri="{FF2B5EF4-FFF2-40B4-BE49-F238E27FC236}">
                <a16:creationId xmlns:a16="http://schemas.microsoft.com/office/drawing/2014/main" id="{710B371E-DEBF-4CE2-879A-1206B83182B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96630" y="4567238"/>
            <a:ext cx="1915200" cy="311150"/>
          </a:xfrm>
          <a:blipFill>
            <a:blip r:embed="rId2"/>
            <a:stretch>
              <a:fillRect/>
            </a:stretch>
          </a:blipFill>
        </p:spPr>
        <p:txBody>
          <a:bodyPr wrap="non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A77CA6DC-4C83-4253-9506-1A6C00544C5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6766" y="1364571"/>
            <a:ext cx="394377" cy="3659186"/>
          </a:xfrm>
          <a:custGeom>
            <a:avLst/>
            <a:gdLst>
              <a:gd name="connsiteX0" fmla="*/ 0 w 394377"/>
              <a:gd name="connsiteY0" fmla="*/ 0 h 3659186"/>
              <a:gd name="connsiteX1" fmla="*/ 394377 w 394377"/>
              <a:gd name="connsiteY1" fmla="*/ 0 h 3659186"/>
              <a:gd name="connsiteX2" fmla="*/ 394377 w 394377"/>
              <a:gd name="connsiteY2" fmla="*/ 3659186 h 3659186"/>
              <a:gd name="connsiteX3" fmla="*/ 0 w 394377"/>
              <a:gd name="connsiteY3" fmla="*/ 3659186 h 3659186"/>
              <a:gd name="connsiteX4" fmla="*/ 0 w 394377"/>
              <a:gd name="connsiteY4" fmla="*/ 649528 h 3659186"/>
              <a:gd name="connsiteX5" fmla="*/ 32529 w 394377"/>
              <a:gd name="connsiteY5" fmla="*/ 639431 h 3659186"/>
              <a:gd name="connsiteX6" fmla="*/ 188436 w 394377"/>
              <a:gd name="connsiteY6" fmla="*/ 404222 h 3659186"/>
              <a:gd name="connsiteX7" fmla="*/ 32529 w 394377"/>
              <a:gd name="connsiteY7" fmla="*/ 169012 h 3659186"/>
              <a:gd name="connsiteX8" fmla="*/ 0 w 394377"/>
              <a:gd name="connsiteY8" fmla="*/ 158915 h 36591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4377" h="3659186">
                <a:moveTo>
                  <a:pt x="0" y="0"/>
                </a:moveTo>
                <a:lnTo>
                  <a:pt x="394377" y="0"/>
                </a:lnTo>
                <a:lnTo>
                  <a:pt x="394377" y="3659186"/>
                </a:lnTo>
                <a:lnTo>
                  <a:pt x="0" y="3659186"/>
                </a:lnTo>
                <a:lnTo>
                  <a:pt x="0" y="649528"/>
                </a:lnTo>
                <a:lnTo>
                  <a:pt x="32529" y="639431"/>
                </a:lnTo>
                <a:cubicBezTo>
                  <a:pt x="124149" y="600679"/>
                  <a:pt x="188436" y="509958"/>
                  <a:pt x="188436" y="404222"/>
                </a:cubicBezTo>
                <a:cubicBezTo>
                  <a:pt x="188436" y="298486"/>
                  <a:pt x="124149" y="207765"/>
                  <a:pt x="32529" y="169012"/>
                </a:cubicBezTo>
                <a:lnTo>
                  <a:pt x="0" y="158915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6200000" scaled="1"/>
          </a:gradFill>
        </p:spPr>
        <p:txBody>
          <a:bodyPr wrap="none">
            <a:no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 </a:t>
            </a:r>
          </a:p>
        </p:txBody>
      </p:sp>
    </p:spTree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022351"/>
            <a:ext cx="10363200" cy="1470025"/>
          </a:xfrm>
        </p:spPr>
        <p:txBody>
          <a:bodyPr anchor="b"/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0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381375"/>
            <a:ext cx="85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6768" y="1582738"/>
            <a:ext cx="5617633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582738"/>
            <a:ext cx="5617633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8392398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55617" y="109538"/>
            <a:ext cx="2859616" cy="59991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6767" y="109538"/>
            <a:ext cx="8375651" cy="59991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 lang="en-US" sz="3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0" y="6043612"/>
            <a:ext cx="11514667" cy="54133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0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0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6768" y="1582738"/>
            <a:ext cx="5617633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582738"/>
            <a:ext cx="5617633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27017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05633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364230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21860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48583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84213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vider slide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EF43A6B6-9A11-3D4D-9BE4-9EAFC121140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6092"/>
          <a:stretch/>
        </p:blipFill>
        <p:spPr>
          <a:xfrm rot="10800000">
            <a:off x="4934" y="1103584"/>
            <a:ext cx="12187066" cy="575441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67560" y="972642"/>
            <a:ext cx="9435579" cy="2429777"/>
          </a:xfrm>
        </p:spPr>
        <p:txBody>
          <a:bodyPr anchor="b"/>
          <a:lstStyle>
            <a:lvl1pPr algn="l">
              <a:defRPr sz="3600" b="1" spc="5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2B2B1A-532E-A74C-A004-E0588BDBBE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67560" y="3907773"/>
            <a:ext cx="9435580" cy="1238385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200" b="0" spc="5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06E01A-7715-0F48-86DA-B6315AFF34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7560" y="5922838"/>
            <a:ext cx="3786046" cy="365125"/>
          </a:xfrm>
          <a:prstGeom prst="rect">
            <a:avLst/>
          </a:prstGeom>
        </p:spPr>
        <p:txBody>
          <a:bodyPr/>
          <a:lstStyle>
            <a:lvl1pPr>
              <a:defRPr sz="1600" b="0" spc="100" baseline="0">
                <a:solidFill>
                  <a:srgbClr val="4A4F55"/>
                </a:solidFill>
              </a:defRPr>
            </a:lvl1pPr>
          </a:lstStyle>
          <a:p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9419077-7940-D845-82EF-F473224B9B10}"/>
              </a:ext>
            </a:extLst>
          </p:cNvPr>
          <p:cNvCxnSpPr>
            <a:cxnSpLocks/>
          </p:cNvCxnSpPr>
          <p:nvPr userDrawn="1"/>
        </p:nvCxnSpPr>
        <p:spPr>
          <a:xfrm>
            <a:off x="967560" y="3636345"/>
            <a:ext cx="10769169" cy="0"/>
          </a:xfrm>
          <a:prstGeom prst="line">
            <a:avLst/>
          </a:prstGeom>
          <a:ln w="25400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7">
            <a:extLst>
              <a:ext uri="{FF2B5EF4-FFF2-40B4-BE49-F238E27FC236}">
                <a16:creationId xmlns:a16="http://schemas.microsoft.com/office/drawing/2014/main" id="{126071BE-9846-8D46-ADA9-C139177567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56350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fld id="{1F1F3A0D-D7F0-7644-AD00-52309B792B6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00F86AB9-3931-9444-B67D-CCA7EBF450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4928" y="-136811"/>
            <a:ext cx="1400619" cy="1336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7672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5422240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55617" y="109538"/>
            <a:ext cx="2859616" cy="59991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6767" y="109538"/>
            <a:ext cx="8375651" cy="59991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974590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 lang="en-US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0" y="6043612"/>
            <a:ext cx="11514667" cy="54133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0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0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043716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022354"/>
            <a:ext cx="10363200" cy="1470025"/>
          </a:xfrm>
        </p:spPr>
        <p:txBody>
          <a:bodyPr anchor="b"/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0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381375"/>
            <a:ext cx="85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616047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277406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35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84156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76790" y="1582738"/>
            <a:ext cx="5617633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24" y="1582738"/>
            <a:ext cx="5617633" cy="45259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0332553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90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90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711925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10123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385621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Divider slid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close-up of a person's face&#10;&#10;Description automatically generated with medium confidence">
            <a:extLst>
              <a:ext uri="{FF2B5EF4-FFF2-40B4-BE49-F238E27FC236}">
                <a16:creationId xmlns:a16="http://schemas.microsoft.com/office/drawing/2014/main" id="{2A416A81-2E5A-9B49-A64F-D4C2CD1240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1961" y="0"/>
            <a:ext cx="2478204" cy="68845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4654" y="972642"/>
            <a:ext cx="9435579" cy="2429777"/>
          </a:xfrm>
        </p:spPr>
        <p:txBody>
          <a:bodyPr anchor="b"/>
          <a:lstStyle>
            <a:lvl1pPr algn="l">
              <a:defRPr sz="3600" b="1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2B2B1A-532E-A74C-A004-E0588BDBBE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94654" y="3907773"/>
            <a:ext cx="9435580" cy="1238385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200" b="0" spc="50" baseline="0">
                <a:solidFill>
                  <a:srgbClr val="4A4F5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7">
            <a:extLst>
              <a:ext uri="{FF2B5EF4-FFF2-40B4-BE49-F238E27FC236}">
                <a16:creationId xmlns:a16="http://schemas.microsoft.com/office/drawing/2014/main" id="{7ADB7768-B994-4A45-BF0A-032864A2A0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56350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fld id="{1F1F3A0D-D7F0-7644-AD00-52309B792B66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63FCDA6-7714-D84C-A108-944E27469001}"/>
              </a:ext>
            </a:extLst>
          </p:cNvPr>
          <p:cNvCxnSpPr>
            <a:cxnSpLocks/>
          </p:cNvCxnSpPr>
          <p:nvPr userDrawn="1"/>
        </p:nvCxnSpPr>
        <p:spPr>
          <a:xfrm>
            <a:off x="2594654" y="3636345"/>
            <a:ext cx="9142075" cy="0"/>
          </a:xfrm>
          <a:prstGeom prst="line">
            <a:avLst/>
          </a:prstGeom>
          <a:ln w="254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8D7C241A-CC55-2B4E-B6C2-8C70D2F12F9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4928" y="-136811"/>
            <a:ext cx="1400619" cy="1336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0740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8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1311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343393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231524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55617" y="109538"/>
            <a:ext cx="2859616" cy="599916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76769" y="109538"/>
            <a:ext cx="8375651" cy="599916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695661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 lang="en-US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" y="6043612"/>
            <a:ext cx="11514667" cy="54133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0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0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569650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 lang="en-US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" y="6043612"/>
            <a:ext cx="11514667" cy="54133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b"/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0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0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374606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>
              <a:defRPr lang="en-US" sz="3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" y="6043612"/>
            <a:ext cx="11514667" cy="541338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anchor="b" anchorCtr="0"/>
          <a:lstStyle>
            <a:lvl1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0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0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None/>
              <a:defRPr lang="en-US" sz="16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0106134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SFBLOGO" descr="Credit Suisse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4200" y="6354767"/>
            <a:ext cx="2220384" cy="3635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6" name="Conf Stamp - Slide Master" hidden="1"/>
          <p:cNvSpPr txBox="1">
            <a:spLocks noChangeArrowheads="1"/>
          </p:cNvSpPr>
          <p:nvPr userDrawn="1"/>
        </p:nvSpPr>
        <p:spPr bwMode="auto">
          <a:xfrm>
            <a:off x="137584" y="83453"/>
            <a:ext cx="2133600" cy="1038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defTabSz="950913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50913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50913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50913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50913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675" b="1" noProof="1">
                <a:solidFill>
                  <a:prstClr val="black"/>
                </a:solidFill>
              </a:rPr>
              <a:t>CONFIDENTIAL</a:t>
            </a:r>
          </a:p>
        </p:txBody>
      </p:sp>
      <p:sp>
        <p:nvSpPr>
          <p:cNvPr id="7" name="Draft Stamp - Slide Master" hidden="1"/>
          <p:cNvSpPr txBox="1">
            <a:spLocks noChangeArrowheads="1"/>
          </p:cNvSpPr>
          <p:nvPr/>
        </p:nvSpPr>
        <p:spPr bwMode="ltGray">
          <a:xfrm>
            <a:off x="0" y="1371603"/>
            <a:ext cx="914400" cy="258532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685768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4050" noProof="1">
                <a:solidFill>
                  <a:srgbClr val="C0C0C0"/>
                </a:solidFill>
                <a:latin typeface="Arial Black" pitchFamily="34" charset="0"/>
              </a:rPr>
              <a:t>DRAFT</a:t>
            </a:r>
          </a:p>
        </p:txBody>
      </p:sp>
      <p:sp>
        <p:nvSpPr>
          <p:cNvPr id="129031" name="Title - Slide Master"/>
          <p:cNvSpPr>
            <a:spLocks noGrp="1" noChangeArrowheads="1"/>
          </p:cNvSpPr>
          <p:nvPr>
            <p:ph type="ctrTitle"/>
          </p:nvPr>
        </p:nvSpPr>
        <p:spPr>
          <a:xfrm>
            <a:off x="609600" y="2130428"/>
            <a:ext cx="10972800" cy="1470025"/>
          </a:xfrm>
        </p:spPr>
        <p:txBody>
          <a:bodyPr anchor="t" anchorCtr="0"/>
          <a:lstStyle>
            <a:lvl1pPr>
              <a:defRPr b="1" smtClean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20" name="Рисунок 1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2038" y="998381"/>
            <a:ext cx="3127927" cy="99346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3822148"/>
      </p:ext>
    </p:extLst>
  </p:cSld>
  <p:clrMapOvr>
    <a:masterClrMapping/>
  </p:clrMapOvr>
  <p:transition spd="slow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902" y="1463040"/>
            <a:ext cx="11010900" cy="4573432"/>
          </a:xfrm>
        </p:spPr>
        <p:txBody>
          <a:bodyPr>
            <a:noAutofit/>
          </a:bodyPr>
          <a:lstStyle>
            <a:lvl1pPr>
              <a:spcBef>
                <a:spcPts val="300"/>
              </a:spcBef>
              <a:spcAft>
                <a:spcPts val="450"/>
              </a:spcAft>
              <a:buClr>
                <a:schemeClr val="accent1"/>
              </a:buClr>
              <a:defRPr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450"/>
              </a:spcAft>
              <a:buClr>
                <a:schemeClr val="accent1"/>
              </a:buClr>
              <a:defRPr>
                <a:solidFill>
                  <a:schemeClr val="tx2"/>
                </a:solidFill>
              </a:defRPr>
            </a:lvl2pPr>
            <a:lvl3pPr>
              <a:spcBef>
                <a:spcPts val="0"/>
              </a:spcBef>
              <a:spcAft>
                <a:spcPts val="225"/>
              </a:spcAft>
              <a:buClr>
                <a:schemeClr val="accent1"/>
              </a:buClr>
              <a:defRPr>
                <a:solidFill>
                  <a:schemeClr val="tx2"/>
                </a:solidFill>
              </a:defRPr>
            </a:lvl3pPr>
            <a:lvl4pPr>
              <a:spcBef>
                <a:spcPts val="0"/>
              </a:spcBef>
              <a:spcAft>
                <a:spcPts val="225"/>
              </a:spcAft>
              <a:buClr>
                <a:schemeClr val="accent1"/>
              </a:buClr>
              <a:defRPr>
                <a:solidFill>
                  <a:schemeClr val="tx2"/>
                </a:solidFill>
              </a:defRPr>
            </a:lvl4pPr>
            <a:lvl5pPr>
              <a:spcBef>
                <a:spcPts val="0"/>
              </a:spcBef>
              <a:spcAft>
                <a:spcPts val="225"/>
              </a:spcAft>
              <a:buClr>
                <a:schemeClr val="accent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r>
              <a:rPr lang="en-US" dirty="0"/>
              <a:t>Second bullet</a:t>
            </a:r>
          </a:p>
        </p:txBody>
      </p:sp>
      <p:sp>
        <p:nvSpPr>
          <p:cNvPr id="5" name="Tagline - Slide Master" hidden="1"/>
          <p:cNvSpPr>
            <a:spLocks noGrp="1" noChangeArrowheads="1"/>
          </p:cNvSpPr>
          <p:nvPr>
            <p:ph type="dt" sz="half" idx="11"/>
          </p:nvPr>
        </p:nvSpPr>
        <p:spPr>
          <a:xfrm>
            <a:off x="6203953" y="33338"/>
            <a:ext cx="5873749" cy="106362"/>
          </a:xfrm>
          <a:prstGeom prst="rect">
            <a:avLst/>
          </a:prstGeom>
          <a:ln/>
        </p:spPr>
        <p:txBody>
          <a:bodyPr/>
          <a:lstStyle>
            <a:lvl1pPr>
              <a:defRPr b="0" i="0">
                <a:latin typeface="Arial" charset="0"/>
              </a:defRPr>
            </a:lvl1pPr>
          </a:lstStyle>
          <a:p>
            <a:pPr defTabSz="554492">
              <a:defRPr/>
            </a:pPr>
            <a:endParaRPr lang="en-US" sz="900">
              <a:solidFill>
                <a:prstClr val="black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2BEB0B-C5C6-E843-A496-21C45521C33B}" type="slidenum">
              <a:rPr lang="en-US" smtClean="0">
                <a:solidFill>
                  <a:srgbClr val="086BB0"/>
                </a:solidFill>
              </a:rPr>
              <a:pPr/>
              <a:t>‹#›</a:t>
            </a:fld>
            <a:endParaRPr lang="en-US">
              <a:solidFill>
                <a:srgbClr val="086BB0"/>
              </a:solidFill>
            </a:endParaRPr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053257" y="6395065"/>
            <a:ext cx="6085489" cy="3264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4031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2BEB0B-C5C6-E843-A496-21C45521C33B}" type="slidenum">
              <a:rPr lang="en-US" smtClean="0">
                <a:solidFill>
                  <a:srgbClr val="086BB0"/>
                </a:solidFill>
              </a:rPr>
              <a:pPr/>
              <a:t>‹#›</a:t>
            </a:fld>
            <a:endParaRPr lang="en-US">
              <a:solidFill>
                <a:srgbClr val="086BB0"/>
              </a:solidFill>
            </a:endParaRPr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053257" y="6395065"/>
            <a:ext cx="6085489" cy="3264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859192"/>
      </p:ext>
    </p:extLst>
  </p:cSld>
  <p:clrMapOvr>
    <a:masterClrMapping/>
  </p:clrMapOvr>
  <p:transition spd="med" advClick="0">
    <p:pull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Divider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95FA792-846B-8E41-A7A2-C83FBB5A31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1961" y="-1"/>
            <a:ext cx="2478204" cy="688457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94654" y="972642"/>
            <a:ext cx="9435579" cy="2429777"/>
          </a:xfrm>
        </p:spPr>
        <p:txBody>
          <a:bodyPr anchor="b"/>
          <a:lstStyle>
            <a:lvl1pPr algn="l">
              <a:defRPr sz="3600" b="1" spc="5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2B2B1A-532E-A74C-A004-E0588BDBBE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94654" y="3907773"/>
            <a:ext cx="9435580" cy="1238385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200" b="0" spc="50" baseline="0">
                <a:solidFill>
                  <a:srgbClr val="4A4F5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Slide Number Placeholder 7">
            <a:extLst>
              <a:ext uri="{FF2B5EF4-FFF2-40B4-BE49-F238E27FC236}">
                <a16:creationId xmlns:a16="http://schemas.microsoft.com/office/drawing/2014/main" id="{7ADB7768-B994-4A45-BF0A-032864A2A0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56350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fld id="{1F1F3A0D-D7F0-7644-AD00-52309B792B66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63FCDA6-7714-D84C-A108-944E27469001}"/>
              </a:ext>
            </a:extLst>
          </p:cNvPr>
          <p:cNvCxnSpPr>
            <a:cxnSpLocks/>
          </p:cNvCxnSpPr>
          <p:nvPr userDrawn="1"/>
        </p:nvCxnSpPr>
        <p:spPr>
          <a:xfrm>
            <a:off x="2594654" y="3636345"/>
            <a:ext cx="9142075" cy="0"/>
          </a:xfrm>
          <a:prstGeom prst="line">
            <a:avLst/>
          </a:prstGeom>
          <a:ln w="254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85415060-E2F8-1C44-92C2-846B223D2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24928" y="-136811"/>
            <a:ext cx="1400619" cy="1336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51791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E2BEB0B-C5C6-E843-A496-21C45521C33B}" type="slidenum">
              <a:rPr lang="en-US" smtClean="0">
                <a:solidFill>
                  <a:srgbClr val="086BB0"/>
                </a:solidFill>
              </a:rPr>
              <a:pPr/>
              <a:t>‹#›</a:t>
            </a:fld>
            <a:endParaRPr lang="en-US">
              <a:solidFill>
                <a:srgbClr val="086BB0"/>
              </a:solidFill>
            </a:endParaRPr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3053257" y="6395065"/>
            <a:ext cx="6085489" cy="3264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accent2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>
              <a:solidFill>
                <a:srgbClr val="6F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080539"/>
      </p:ext>
    </p:extLst>
  </p:cSld>
  <p:clrMapOvr>
    <a:masterClrMapping/>
  </p:clrMapOvr>
  <p:transition spd="slow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6901" y="1260475"/>
            <a:ext cx="5333970" cy="50540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5"/>
          <p:cNvSpPr>
            <a:spLocks noGrp="1"/>
          </p:cNvSpPr>
          <p:nvPr>
            <p:ph sz="quarter" idx="4"/>
          </p:nvPr>
        </p:nvSpPr>
        <p:spPr>
          <a:xfrm>
            <a:off x="6199157" y="1260475"/>
            <a:ext cx="5360239" cy="50540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4038600" y="6450013"/>
            <a:ext cx="4114800" cy="3264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2BEB0B-C5C6-E843-A496-21C45521C33B}" type="slidenum">
              <a:rPr lang="en-US" smtClean="0">
                <a:solidFill>
                  <a:srgbClr val="086BB0"/>
                </a:solidFill>
              </a:rPr>
              <a:pPr/>
              <a:t>‹#›</a:t>
            </a:fld>
            <a:endParaRPr lang="en-US">
              <a:solidFill>
                <a:srgbClr val="086BB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872195"/>
      </p:ext>
    </p:extLst>
  </p:cSld>
  <p:clrMapOvr>
    <a:masterClrMapping/>
  </p:clrMapOvr>
  <p:transition spd="slow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SFBLOGO" descr="Credit Suisse" hidden="1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4200" y="6354767"/>
            <a:ext cx="2220384" cy="3635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6" name="Conf Stamp - Slide Master" hidden="1"/>
          <p:cNvSpPr txBox="1">
            <a:spLocks noChangeArrowheads="1"/>
          </p:cNvSpPr>
          <p:nvPr userDrawn="1"/>
        </p:nvSpPr>
        <p:spPr bwMode="auto">
          <a:xfrm>
            <a:off x="137584" y="83453"/>
            <a:ext cx="2133600" cy="1038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defTabSz="950913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50913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50913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50913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50913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675" b="1" noProof="1">
                <a:solidFill>
                  <a:prstClr val="black"/>
                </a:solidFill>
              </a:rPr>
              <a:t>CONFIDENTIAL</a:t>
            </a:r>
          </a:p>
        </p:txBody>
      </p:sp>
      <p:sp>
        <p:nvSpPr>
          <p:cNvPr id="7" name="Draft Stamp - Slide Master" hidden="1"/>
          <p:cNvSpPr txBox="1">
            <a:spLocks noChangeArrowheads="1"/>
          </p:cNvSpPr>
          <p:nvPr/>
        </p:nvSpPr>
        <p:spPr bwMode="ltGray">
          <a:xfrm>
            <a:off x="0" y="1371603"/>
            <a:ext cx="914400" cy="258532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685768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4050" noProof="1">
                <a:solidFill>
                  <a:srgbClr val="C0C0C0"/>
                </a:solidFill>
                <a:latin typeface="Arial Black" pitchFamily="34" charset="0"/>
              </a:rPr>
              <a:t>DRAFT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3124200"/>
            <a:ext cx="11044238" cy="1066800"/>
          </a:xfrm>
        </p:spPr>
        <p:txBody>
          <a:bodyPr/>
          <a:lstStyle>
            <a:lvl1pPr marL="0" indent="0">
              <a:buNone/>
              <a:defRPr sz="6000">
                <a:solidFill>
                  <a:schemeClr val="bg1"/>
                </a:solidFill>
              </a:defRPr>
            </a:lvl1pPr>
            <a:lvl2pPr marL="173823" indent="0">
              <a:buNone/>
              <a:defRPr sz="6000"/>
            </a:lvl2pPr>
            <a:lvl3pPr marL="344075" indent="0">
              <a:buNone/>
              <a:defRPr sz="6000"/>
            </a:lvl3pPr>
            <a:lvl4pPr marL="514326" indent="0">
              <a:buNone/>
              <a:defRPr sz="6000"/>
            </a:lvl4pPr>
            <a:lvl5pPr marL="685768" indent="0">
              <a:buNone/>
              <a:defRPr sz="6000"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414906"/>
            <a:ext cx="11010900" cy="51752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609600" y="3032125"/>
            <a:ext cx="1143000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9857341"/>
      </p:ext>
    </p:extLst>
  </p:cSld>
  <p:clrMapOvr>
    <a:masterClrMapping/>
  </p:clrMapOvr>
  <p:transition spd="slow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6900" y="44451"/>
            <a:ext cx="9687984" cy="8223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>
                <a:solidFill>
                  <a:srgbClr val="262626"/>
                </a:solidFill>
              </a:defRPr>
            </a:lvl1pPr>
          </a:lstStyle>
          <a:p>
            <a:pPr>
              <a:defRPr/>
            </a:pPr>
            <a:fld id="{E446E6DC-ABFC-4C14-B28E-528DBF8F11DA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5017413"/>
      </p:ext>
    </p:extLst>
  </p:cSld>
  <p:clrMapOvr>
    <a:masterClrMapping/>
  </p:clrMapOvr>
  <p:transition spd="slow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1" y="1022351"/>
            <a:ext cx="10363200" cy="1470025"/>
          </a:xfrm>
        </p:spPr>
        <p:txBody>
          <a:bodyPr anchor="b"/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0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381375"/>
            <a:ext cx="85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6264882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39819" y="972642"/>
            <a:ext cx="9435579" cy="2429777"/>
          </a:xfrm>
        </p:spPr>
        <p:txBody>
          <a:bodyPr anchor="b"/>
          <a:lstStyle>
            <a:lvl1pPr algn="l">
              <a:defRPr sz="3600" b="1" spc="50" baseline="0">
                <a:solidFill>
                  <a:srgbClr val="FF681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2B2B1A-532E-A74C-A004-E0588BDBBE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39819" y="3907773"/>
            <a:ext cx="9435580" cy="1238385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200" b="0" spc="50" baseline="0">
                <a:solidFill>
                  <a:srgbClr val="4A4F5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06E01A-7715-0F48-86DA-B6315AFF34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7560" y="5922838"/>
            <a:ext cx="3786046" cy="365125"/>
          </a:xfrm>
          <a:prstGeom prst="rect">
            <a:avLst/>
          </a:prstGeom>
        </p:spPr>
        <p:txBody>
          <a:bodyPr/>
          <a:lstStyle>
            <a:lvl1pPr>
              <a:defRPr sz="1600" b="0" spc="100" baseline="0">
                <a:solidFill>
                  <a:srgbClr val="4A4F55"/>
                </a:solidFill>
              </a:defRPr>
            </a:lvl1pPr>
          </a:lstStyle>
          <a:p>
            <a:r>
              <a:rPr lang="en-US"/>
              <a:t>[Date]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603BB16-5001-B746-9E89-880A111E6FF8}"/>
              </a:ext>
            </a:extLst>
          </p:cNvPr>
          <p:cNvCxnSpPr/>
          <p:nvPr userDrawn="1"/>
        </p:nvCxnSpPr>
        <p:spPr>
          <a:xfrm>
            <a:off x="1819140" y="3636345"/>
            <a:ext cx="10332720" cy="0"/>
          </a:xfrm>
          <a:prstGeom prst="line">
            <a:avLst/>
          </a:prstGeom>
          <a:ln w="5397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4F78E8E3-3EA7-4E42-A9CA-A64D7EB779A2}"/>
              </a:ext>
            </a:extLst>
          </p:cNvPr>
          <p:cNvPicPr>
            <a:picLocks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793" y="3077174"/>
            <a:ext cx="1097280" cy="109728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BFB54BD-1065-4357-A4BF-9942A37E3199}"/>
              </a:ext>
            </a:extLst>
          </p:cNvPr>
          <p:cNvSpPr txBox="1"/>
          <p:nvPr userDrawn="1"/>
        </p:nvSpPr>
        <p:spPr>
          <a:xfrm>
            <a:off x="3600450" y="6620967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t>For Disease Educational Use by Apellis MSLs only</a:t>
            </a:r>
            <a:endParaRPr lang="en-US" sz="800" spc="50" baseline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44355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F78E8E3-3EA7-4E42-A9CA-A64D7EB779A2}"/>
              </a:ext>
            </a:extLst>
          </p:cNvPr>
          <p:cNvPicPr>
            <a:picLocks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82446" y="5890790"/>
            <a:ext cx="1598818" cy="55097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39819" y="972642"/>
            <a:ext cx="9435579" cy="2429777"/>
          </a:xfrm>
        </p:spPr>
        <p:txBody>
          <a:bodyPr anchor="b"/>
          <a:lstStyle>
            <a:lvl1pPr algn="l">
              <a:defRPr sz="3600" b="1" spc="50" baseline="0">
                <a:solidFill>
                  <a:srgbClr val="FF681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2B2B1A-532E-A74C-A004-E0588BDBBE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39819" y="3907773"/>
            <a:ext cx="9435580" cy="1238385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2200" b="0" spc="50" baseline="0">
                <a:solidFill>
                  <a:srgbClr val="4A4F5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06E01A-7715-0F48-86DA-B6315AFF34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67560" y="5922838"/>
            <a:ext cx="3786046" cy="365125"/>
          </a:xfrm>
          <a:prstGeom prst="rect">
            <a:avLst/>
          </a:prstGeom>
        </p:spPr>
        <p:txBody>
          <a:bodyPr/>
          <a:lstStyle>
            <a:lvl1pPr>
              <a:defRPr sz="1600" b="0" spc="100" baseline="0">
                <a:solidFill>
                  <a:srgbClr val="4A4F55"/>
                </a:solidFill>
              </a:defRPr>
            </a:lvl1pPr>
          </a:lstStyle>
          <a:p>
            <a:r>
              <a:rPr lang="en-US"/>
              <a:t>[Date]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F603BB16-5001-B746-9E89-880A111E6FF8}"/>
              </a:ext>
            </a:extLst>
          </p:cNvPr>
          <p:cNvCxnSpPr/>
          <p:nvPr userDrawn="1"/>
        </p:nvCxnSpPr>
        <p:spPr>
          <a:xfrm>
            <a:off x="1819140" y="3636345"/>
            <a:ext cx="10332720" cy="0"/>
          </a:xfrm>
          <a:prstGeom prst="line">
            <a:avLst/>
          </a:prstGeom>
          <a:ln w="53975" cap="rnd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08B5A40A-FFF7-4856-B380-FDA9EB93C598}"/>
              </a:ext>
            </a:extLst>
          </p:cNvPr>
          <p:cNvSpPr txBox="1"/>
          <p:nvPr userDrawn="1"/>
        </p:nvSpPr>
        <p:spPr>
          <a:xfrm>
            <a:off x="3600450" y="6620967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t>For Disease Educational Use by Apellis MSLs only</a:t>
            </a:r>
            <a:endParaRPr lang="en-US" sz="800" spc="50" baseline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458278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1F38C5DE-2E9E-5648-A1AB-44EF7C520F09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2B2B1A-532E-A74C-A004-E0588BDBBE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79471" y="3904488"/>
            <a:ext cx="9395325" cy="1467289"/>
          </a:xfrm>
        </p:spPr>
        <p:txBody>
          <a:bodyPr>
            <a:normAutofit/>
          </a:bodyPr>
          <a:lstStyle>
            <a:lvl1pPr marL="0" indent="0" algn="l">
              <a:buNone/>
              <a:defRPr sz="2200" spc="5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06E01A-7715-0F48-86DA-B6315AFF34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79471" y="5814233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 b="0" spc="5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[Date]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79471" y="969264"/>
            <a:ext cx="9395325" cy="2432304"/>
          </a:xfrm>
        </p:spPr>
        <p:txBody>
          <a:bodyPr anchor="b"/>
          <a:lstStyle>
            <a:lvl1pPr algn="l">
              <a:defRPr sz="3600" b="1" spc="5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1A58040-D6B6-1D40-B7DE-7EE528BF85A1}"/>
              </a:ext>
            </a:extLst>
          </p:cNvPr>
          <p:cNvCxnSpPr/>
          <p:nvPr userDrawn="1"/>
        </p:nvCxnSpPr>
        <p:spPr>
          <a:xfrm>
            <a:off x="2127616" y="3636345"/>
            <a:ext cx="10058400" cy="0"/>
          </a:xfrm>
          <a:prstGeom prst="line">
            <a:avLst/>
          </a:prstGeom>
          <a:ln w="53975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AutoShape 3">
            <a:extLst>
              <a:ext uri="{FF2B5EF4-FFF2-40B4-BE49-F238E27FC236}">
                <a16:creationId xmlns:a16="http://schemas.microsoft.com/office/drawing/2014/main" id="{78FC047D-B8CD-4638-A231-CE710295D17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477500" y="969963"/>
            <a:ext cx="1096963" cy="1119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39ACFFD7-B5A5-42C2-86E3-F902462CA5F3}"/>
              </a:ext>
            </a:extLst>
          </p:cNvPr>
          <p:cNvSpPr>
            <a:spLocks/>
          </p:cNvSpPr>
          <p:nvPr userDrawn="1"/>
        </p:nvSpPr>
        <p:spPr bwMode="auto">
          <a:xfrm>
            <a:off x="10599738" y="1095375"/>
            <a:ext cx="855663" cy="871537"/>
          </a:xfrm>
          <a:custGeom>
            <a:avLst/>
            <a:gdLst>
              <a:gd name="T0" fmla="*/ 0 w 1078"/>
              <a:gd name="T1" fmla="*/ 521 h 1098"/>
              <a:gd name="T2" fmla="*/ 9 w 1078"/>
              <a:gd name="T3" fmla="*/ 438 h 1098"/>
              <a:gd name="T4" fmla="*/ 32 w 1078"/>
              <a:gd name="T5" fmla="*/ 361 h 1098"/>
              <a:gd name="T6" fmla="*/ 64 w 1078"/>
              <a:gd name="T7" fmla="*/ 288 h 1098"/>
              <a:gd name="T8" fmla="*/ 106 w 1078"/>
              <a:gd name="T9" fmla="*/ 220 h 1098"/>
              <a:gd name="T10" fmla="*/ 157 w 1078"/>
              <a:gd name="T11" fmla="*/ 162 h 1098"/>
              <a:gd name="T12" fmla="*/ 215 w 1078"/>
              <a:gd name="T13" fmla="*/ 109 h 1098"/>
              <a:gd name="T14" fmla="*/ 281 w 1078"/>
              <a:gd name="T15" fmla="*/ 66 h 1098"/>
              <a:gd name="T16" fmla="*/ 353 w 1078"/>
              <a:gd name="T17" fmla="*/ 34 h 1098"/>
              <a:gd name="T18" fmla="*/ 430 w 1078"/>
              <a:gd name="T19" fmla="*/ 11 h 1098"/>
              <a:gd name="T20" fmla="*/ 510 w 1078"/>
              <a:gd name="T21" fmla="*/ 0 h 1098"/>
              <a:gd name="T22" fmla="*/ 566 w 1078"/>
              <a:gd name="T23" fmla="*/ 0 h 1098"/>
              <a:gd name="T24" fmla="*/ 647 w 1078"/>
              <a:gd name="T25" fmla="*/ 11 h 1098"/>
              <a:gd name="T26" fmla="*/ 723 w 1078"/>
              <a:gd name="T27" fmla="*/ 34 h 1098"/>
              <a:gd name="T28" fmla="*/ 795 w 1078"/>
              <a:gd name="T29" fmla="*/ 66 h 1098"/>
              <a:gd name="T30" fmla="*/ 861 w 1078"/>
              <a:gd name="T31" fmla="*/ 109 h 1098"/>
              <a:gd name="T32" fmla="*/ 919 w 1078"/>
              <a:gd name="T33" fmla="*/ 162 h 1098"/>
              <a:gd name="T34" fmla="*/ 970 w 1078"/>
              <a:gd name="T35" fmla="*/ 220 h 1098"/>
              <a:gd name="T36" fmla="*/ 1012 w 1078"/>
              <a:gd name="T37" fmla="*/ 288 h 1098"/>
              <a:gd name="T38" fmla="*/ 1044 w 1078"/>
              <a:gd name="T39" fmla="*/ 361 h 1098"/>
              <a:gd name="T40" fmla="*/ 1067 w 1078"/>
              <a:gd name="T41" fmla="*/ 438 h 1098"/>
              <a:gd name="T42" fmla="*/ 1076 w 1078"/>
              <a:gd name="T43" fmla="*/ 521 h 1098"/>
              <a:gd name="T44" fmla="*/ 1076 w 1078"/>
              <a:gd name="T45" fmla="*/ 577 h 1098"/>
              <a:gd name="T46" fmla="*/ 1067 w 1078"/>
              <a:gd name="T47" fmla="*/ 660 h 1098"/>
              <a:gd name="T48" fmla="*/ 1044 w 1078"/>
              <a:gd name="T49" fmla="*/ 739 h 1098"/>
              <a:gd name="T50" fmla="*/ 1012 w 1078"/>
              <a:gd name="T51" fmla="*/ 810 h 1098"/>
              <a:gd name="T52" fmla="*/ 970 w 1078"/>
              <a:gd name="T53" fmla="*/ 878 h 1098"/>
              <a:gd name="T54" fmla="*/ 919 w 1078"/>
              <a:gd name="T55" fmla="*/ 938 h 1098"/>
              <a:gd name="T56" fmla="*/ 861 w 1078"/>
              <a:gd name="T57" fmla="*/ 989 h 1098"/>
              <a:gd name="T58" fmla="*/ 795 w 1078"/>
              <a:gd name="T59" fmla="*/ 1032 h 1098"/>
              <a:gd name="T60" fmla="*/ 723 w 1078"/>
              <a:gd name="T61" fmla="*/ 1066 h 1098"/>
              <a:gd name="T62" fmla="*/ 647 w 1078"/>
              <a:gd name="T63" fmla="*/ 1087 h 1098"/>
              <a:gd name="T64" fmla="*/ 566 w 1078"/>
              <a:gd name="T65" fmla="*/ 1098 h 1098"/>
              <a:gd name="T66" fmla="*/ 510 w 1078"/>
              <a:gd name="T67" fmla="*/ 1098 h 1098"/>
              <a:gd name="T68" fmla="*/ 430 w 1078"/>
              <a:gd name="T69" fmla="*/ 1087 h 1098"/>
              <a:gd name="T70" fmla="*/ 353 w 1078"/>
              <a:gd name="T71" fmla="*/ 1066 h 1098"/>
              <a:gd name="T72" fmla="*/ 281 w 1078"/>
              <a:gd name="T73" fmla="*/ 1032 h 1098"/>
              <a:gd name="T74" fmla="*/ 215 w 1078"/>
              <a:gd name="T75" fmla="*/ 989 h 1098"/>
              <a:gd name="T76" fmla="*/ 157 w 1078"/>
              <a:gd name="T77" fmla="*/ 938 h 1098"/>
              <a:gd name="T78" fmla="*/ 106 w 1078"/>
              <a:gd name="T79" fmla="*/ 878 h 1098"/>
              <a:gd name="T80" fmla="*/ 64 w 1078"/>
              <a:gd name="T81" fmla="*/ 810 h 1098"/>
              <a:gd name="T82" fmla="*/ 32 w 1078"/>
              <a:gd name="T83" fmla="*/ 739 h 1098"/>
              <a:gd name="T84" fmla="*/ 9 w 1078"/>
              <a:gd name="T85" fmla="*/ 660 h 1098"/>
              <a:gd name="T86" fmla="*/ 0 w 1078"/>
              <a:gd name="T87" fmla="*/ 577 h 10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8" h="1098">
                <a:moveTo>
                  <a:pt x="0" y="549"/>
                </a:moveTo>
                <a:lnTo>
                  <a:pt x="0" y="549"/>
                </a:lnTo>
                <a:lnTo>
                  <a:pt x="0" y="521"/>
                </a:lnTo>
                <a:lnTo>
                  <a:pt x="2" y="492"/>
                </a:lnTo>
                <a:lnTo>
                  <a:pt x="5" y="466"/>
                </a:lnTo>
                <a:lnTo>
                  <a:pt x="9" y="438"/>
                </a:lnTo>
                <a:lnTo>
                  <a:pt x="17" y="412"/>
                </a:lnTo>
                <a:lnTo>
                  <a:pt x="22" y="385"/>
                </a:lnTo>
                <a:lnTo>
                  <a:pt x="32" y="361"/>
                </a:lnTo>
                <a:lnTo>
                  <a:pt x="41" y="335"/>
                </a:lnTo>
                <a:lnTo>
                  <a:pt x="53" y="312"/>
                </a:lnTo>
                <a:lnTo>
                  <a:pt x="64" y="288"/>
                </a:lnTo>
                <a:lnTo>
                  <a:pt x="77" y="265"/>
                </a:lnTo>
                <a:lnTo>
                  <a:pt x="90" y="242"/>
                </a:lnTo>
                <a:lnTo>
                  <a:pt x="106" y="220"/>
                </a:lnTo>
                <a:lnTo>
                  <a:pt x="123" y="199"/>
                </a:lnTo>
                <a:lnTo>
                  <a:pt x="140" y="180"/>
                </a:lnTo>
                <a:lnTo>
                  <a:pt x="157" y="162"/>
                </a:lnTo>
                <a:lnTo>
                  <a:pt x="175" y="143"/>
                </a:lnTo>
                <a:lnTo>
                  <a:pt x="196" y="126"/>
                </a:lnTo>
                <a:lnTo>
                  <a:pt x="215" y="109"/>
                </a:lnTo>
                <a:lnTo>
                  <a:pt x="238" y="94"/>
                </a:lnTo>
                <a:lnTo>
                  <a:pt x="258" y="79"/>
                </a:lnTo>
                <a:lnTo>
                  <a:pt x="281" y="66"/>
                </a:lnTo>
                <a:lnTo>
                  <a:pt x="304" y="54"/>
                </a:lnTo>
                <a:lnTo>
                  <a:pt x="328" y="43"/>
                </a:lnTo>
                <a:lnTo>
                  <a:pt x="353" y="34"/>
                </a:lnTo>
                <a:lnTo>
                  <a:pt x="377" y="24"/>
                </a:lnTo>
                <a:lnTo>
                  <a:pt x="404" y="17"/>
                </a:lnTo>
                <a:lnTo>
                  <a:pt x="430" y="11"/>
                </a:lnTo>
                <a:lnTo>
                  <a:pt x="457" y="6"/>
                </a:lnTo>
                <a:lnTo>
                  <a:pt x="483" y="4"/>
                </a:lnTo>
                <a:lnTo>
                  <a:pt x="510" y="0"/>
                </a:lnTo>
                <a:lnTo>
                  <a:pt x="538" y="0"/>
                </a:lnTo>
                <a:lnTo>
                  <a:pt x="538" y="0"/>
                </a:lnTo>
                <a:lnTo>
                  <a:pt x="566" y="0"/>
                </a:lnTo>
                <a:lnTo>
                  <a:pt x="593" y="4"/>
                </a:lnTo>
                <a:lnTo>
                  <a:pt x="621" y="6"/>
                </a:lnTo>
                <a:lnTo>
                  <a:pt x="647" y="11"/>
                </a:lnTo>
                <a:lnTo>
                  <a:pt x="674" y="17"/>
                </a:lnTo>
                <a:lnTo>
                  <a:pt x="698" y="24"/>
                </a:lnTo>
                <a:lnTo>
                  <a:pt x="723" y="34"/>
                </a:lnTo>
                <a:lnTo>
                  <a:pt x="747" y="43"/>
                </a:lnTo>
                <a:lnTo>
                  <a:pt x="772" y="54"/>
                </a:lnTo>
                <a:lnTo>
                  <a:pt x="795" y="66"/>
                </a:lnTo>
                <a:lnTo>
                  <a:pt x="817" y="79"/>
                </a:lnTo>
                <a:lnTo>
                  <a:pt x="840" y="94"/>
                </a:lnTo>
                <a:lnTo>
                  <a:pt x="861" y="109"/>
                </a:lnTo>
                <a:lnTo>
                  <a:pt x="882" y="126"/>
                </a:lnTo>
                <a:lnTo>
                  <a:pt x="900" y="143"/>
                </a:lnTo>
                <a:lnTo>
                  <a:pt x="919" y="162"/>
                </a:lnTo>
                <a:lnTo>
                  <a:pt x="938" y="180"/>
                </a:lnTo>
                <a:lnTo>
                  <a:pt x="955" y="199"/>
                </a:lnTo>
                <a:lnTo>
                  <a:pt x="970" y="220"/>
                </a:lnTo>
                <a:lnTo>
                  <a:pt x="985" y="242"/>
                </a:lnTo>
                <a:lnTo>
                  <a:pt x="999" y="265"/>
                </a:lnTo>
                <a:lnTo>
                  <a:pt x="1012" y="288"/>
                </a:lnTo>
                <a:lnTo>
                  <a:pt x="1025" y="312"/>
                </a:lnTo>
                <a:lnTo>
                  <a:pt x="1034" y="335"/>
                </a:lnTo>
                <a:lnTo>
                  <a:pt x="1044" y="361"/>
                </a:lnTo>
                <a:lnTo>
                  <a:pt x="1053" y="385"/>
                </a:lnTo>
                <a:lnTo>
                  <a:pt x="1061" y="412"/>
                </a:lnTo>
                <a:lnTo>
                  <a:pt x="1067" y="438"/>
                </a:lnTo>
                <a:lnTo>
                  <a:pt x="1070" y="466"/>
                </a:lnTo>
                <a:lnTo>
                  <a:pt x="1074" y="492"/>
                </a:lnTo>
                <a:lnTo>
                  <a:pt x="1076" y="521"/>
                </a:lnTo>
                <a:lnTo>
                  <a:pt x="1078" y="549"/>
                </a:lnTo>
                <a:lnTo>
                  <a:pt x="1078" y="549"/>
                </a:lnTo>
                <a:lnTo>
                  <a:pt x="1076" y="577"/>
                </a:lnTo>
                <a:lnTo>
                  <a:pt x="1074" y="605"/>
                </a:lnTo>
                <a:lnTo>
                  <a:pt x="1070" y="633"/>
                </a:lnTo>
                <a:lnTo>
                  <a:pt x="1067" y="660"/>
                </a:lnTo>
                <a:lnTo>
                  <a:pt x="1061" y="686"/>
                </a:lnTo>
                <a:lnTo>
                  <a:pt x="1053" y="712"/>
                </a:lnTo>
                <a:lnTo>
                  <a:pt x="1044" y="739"/>
                </a:lnTo>
                <a:lnTo>
                  <a:pt x="1034" y="763"/>
                </a:lnTo>
                <a:lnTo>
                  <a:pt x="1025" y="788"/>
                </a:lnTo>
                <a:lnTo>
                  <a:pt x="1012" y="810"/>
                </a:lnTo>
                <a:lnTo>
                  <a:pt x="999" y="835"/>
                </a:lnTo>
                <a:lnTo>
                  <a:pt x="985" y="857"/>
                </a:lnTo>
                <a:lnTo>
                  <a:pt x="970" y="878"/>
                </a:lnTo>
                <a:lnTo>
                  <a:pt x="955" y="899"/>
                </a:lnTo>
                <a:lnTo>
                  <a:pt x="938" y="919"/>
                </a:lnTo>
                <a:lnTo>
                  <a:pt x="919" y="938"/>
                </a:lnTo>
                <a:lnTo>
                  <a:pt x="900" y="955"/>
                </a:lnTo>
                <a:lnTo>
                  <a:pt x="882" y="974"/>
                </a:lnTo>
                <a:lnTo>
                  <a:pt x="861" y="989"/>
                </a:lnTo>
                <a:lnTo>
                  <a:pt x="840" y="1004"/>
                </a:lnTo>
                <a:lnTo>
                  <a:pt x="817" y="1019"/>
                </a:lnTo>
                <a:lnTo>
                  <a:pt x="795" y="1032"/>
                </a:lnTo>
                <a:lnTo>
                  <a:pt x="772" y="1045"/>
                </a:lnTo>
                <a:lnTo>
                  <a:pt x="747" y="1055"/>
                </a:lnTo>
                <a:lnTo>
                  <a:pt x="723" y="1066"/>
                </a:lnTo>
                <a:lnTo>
                  <a:pt x="698" y="1073"/>
                </a:lnTo>
                <a:lnTo>
                  <a:pt x="674" y="1081"/>
                </a:lnTo>
                <a:lnTo>
                  <a:pt x="647" y="1087"/>
                </a:lnTo>
                <a:lnTo>
                  <a:pt x="621" y="1092"/>
                </a:lnTo>
                <a:lnTo>
                  <a:pt x="593" y="1096"/>
                </a:lnTo>
                <a:lnTo>
                  <a:pt x="566" y="1098"/>
                </a:lnTo>
                <a:lnTo>
                  <a:pt x="538" y="1098"/>
                </a:lnTo>
                <a:lnTo>
                  <a:pt x="538" y="1098"/>
                </a:lnTo>
                <a:lnTo>
                  <a:pt x="510" y="1098"/>
                </a:lnTo>
                <a:lnTo>
                  <a:pt x="483" y="1096"/>
                </a:lnTo>
                <a:lnTo>
                  <a:pt x="457" y="1092"/>
                </a:lnTo>
                <a:lnTo>
                  <a:pt x="430" y="1087"/>
                </a:lnTo>
                <a:lnTo>
                  <a:pt x="404" y="1081"/>
                </a:lnTo>
                <a:lnTo>
                  <a:pt x="377" y="1073"/>
                </a:lnTo>
                <a:lnTo>
                  <a:pt x="353" y="1066"/>
                </a:lnTo>
                <a:lnTo>
                  <a:pt x="328" y="1055"/>
                </a:lnTo>
                <a:lnTo>
                  <a:pt x="304" y="1045"/>
                </a:lnTo>
                <a:lnTo>
                  <a:pt x="281" y="1032"/>
                </a:lnTo>
                <a:lnTo>
                  <a:pt x="258" y="1019"/>
                </a:lnTo>
                <a:lnTo>
                  <a:pt x="238" y="1004"/>
                </a:lnTo>
                <a:lnTo>
                  <a:pt x="215" y="989"/>
                </a:lnTo>
                <a:lnTo>
                  <a:pt x="196" y="974"/>
                </a:lnTo>
                <a:lnTo>
                  <a:pt x="175" y="955"/>
                </a:lnTo>
                <a:lnTo>
                  <a:pt x="157" y="938"/>
                </a:lnTo>
                <a:lnTo>
                  <a:pt x="140" y="919"/>
                </a:lnTo>
                <a:lnTo>
                  <a:pt x="123" y="899"/>
                </a:lnTo>
                <a:lnTo>
                  <a:pt x="106" y="878"/>
                </a:lnTo>
                <a:lnTo>
                  <a:pt x="90" y="857"/>
                </a:lnTo>
                <a:lnTo>
                  <a:pt x="77" y="835"/>
                </a:lnTo>
                <a:lnTo>
                  <a:pt x="64" y="810"/>
                </a:lnTo>
                <a:lnTo>
                  <a:pt x="53" y="788"/>
                </a:lnTo>
                <a:lnTo>
                  <a:pt x="41" y="763"/>
                </a:lnTo>
                <a:lnTo>
                  <a:pt x="32" y="739"/>
                </a:lnTo>
                <a:lnTo>
                  <a:pt x="22" y="712"/>
                </a:lnTo>
                <a:lnTo>
                  <a:pt x="17" y="686"/>
                </a:lnTo>
                <a:lnTo>
                  <a:pt x="9" y="660"/>
                </a:lnTo>
                <a:lnTo>
                  <a:pt x="5" y="633"/>
                </a:lnTo>
                <a:lnTo>
                  <a:pt x="2" y="605"/>
                </a:lnTo>
                <a:lnTo>
                  <a:pt x="0" y="577"/>
                </a:lnTo>
                <a:lnTo>
                  <a:pt x="0" y="549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185EACAD-94F3-4E59-B39D-60DF4F6C1DDC}"/>
              </a:ext>
            </a:extLst>
          </p:cNvPr>
          <p:cNvSpPr>
            <a:spLocks/>
          </p:cNvSpPr>
          <p:nvPr userDrawn="1"/>
        </p:nvSpPr>
        <p:spPr bwMode="auto">
          <a:xfrm>
            <a:off x="11253788" y="1498600"/>
            <a:ext cx="87313" cy="122237"/>
          </a:xfrm>
          <a:custGeom>
            <a:avLst/>
            <a:gdLst>
              <a:gd name="T0" fmla="*/ 0 w 109"/>
              <a:gd name="T1" fmla="*/ 131 h 154"/>
              <a:gd name="T2" fmla="*/ 25 w 109"/>
              <a:gd name="T3" fmla="*/ 148 h 154"/>
              <a:gd name="T4" fmla="*/ 57 w 109"/>
              <a:gd name="T5" fmla="*/ 154 h 154"/>
              <a:gd name="T6" fmla="*/ 68 w 109"/>
              <a:gd name="T7" fmla="*/ 152 h 154"/>
              <a:gd name="T8" fmla="*/ 89 w 109"/>
              <a:gd name="T9" fmla="*/ 146 h 154"/>
              <a:gd name="T10" fmla="*/ 102 w 109"/>
              <a:gd name="T11" fmla="*/ 135 h 154"/>
              <a:gd name="T12" fmla="*/ 109 w 109"/>
              <a:gd name="T13" fmla="*/ 118 h 154"/>
              <a:gd name="T14" fmla="*/ 109 w 109"/>
              <a:gd name="T15" fmla="*/ 110 h 154"/>
              <a:gd name="T16" fmla="*/ 106 w 109"/>
              <a:gd name="T17" fmla="*/ 92 h 154"/>
              <a:gd name="T18" fmla="*/ 96 w 109"/>
              <a:gd name="T19" fmla="*/ 80 h 154"/>
              <a:gd name="T20" fmla="*/ 81 w 109"/>
              <a:gd name="T21" fmla="*/ 73 h 154"/>
              <a:gd name="T22" fmla="*/ 47 w 109"/>
              <a:gd name="T23" fmla="*/ 63 h 154"/>
              <a:gd name="T24" fmla="*/ 28 w 109"/>
              <a:gd name="T25" fmla="*/ 54 h 154"/>
              <a:gd name="T26" fmla="*/ 21 w 109"/>
              <a:gd name="T27" fmla="*/ 47 h 154"/>
              <a:gd name="T28" fmla="*/ 19 w 109"/>
              <a:gd name="T29" fmla="*/ 39 h 154"/>
              <a:gd name="T30" fmla="*/ 23 w 109"/>
              <a:gd name="T31" fmla="*/ 30 h 154"/>
              <a:gd name="T32" fmla="*/ 28 w 109"/>
              <a:gd name="T33" fmla="*/ 20 h 154"/>
              <a:gd name="T34" fmla="*/ 40 w 109"/>
              <a:gd name="T35" fmla="*/ 15 h 154"/>
              <a:gd name="T36" fmla="*/ 55 w 109"/>
              <a:gd name="T37" fmla="*/ 13 h 154"/>
              <a:gd name="T38" fmla="*/ 81 w 109"/>
              <a:gd name="T39" fmla="*/ 18 h 154"/>
              <a:gd name="T40" fmla="*/ 98 w 109"/>
              <a:gd name="T41" fmla="*/ 31 h 154"/>
              <a:gd name="T42" fmla="*/ 108 w 109"/>
              <a:gd name="T43" fmla="*/ 20 h 154"/>
              <a:gd name="T44" fmla="*/ 87 w 109"/>
              <a:gd name="T45" fmla="*/ 5 h 154"/>
              <a:gd name="T46" fmla="*/ 55 w 109"/>
              <a:gd name="T47" fmla="*/ 0 h 154"/>
              <a:gd name="T48" fmla="*/ 43 w 109"/>
              <a:gd name="T49" fmla="*/ 0 h 154"/>
              <a:gd name="T50" fmla="*/ 25 w 109"/>
              <a:gd name="T51" fmla="*/ 7 h 154"/>
              <a:gd name="T52" fmla="*/ 11 w 109"/>
              <a:gd name="T53" fmla="*/ 18 h 154"/>
              <a:gd name="T54" fmla="*/ 6 w 109"/>
              <a:gd name="T55" fmla="*/ 31 h 154"/>
              <a:gd name="T56" fmla="*/ 4 w 109"/>
              <a:gd name="T57" fmla="*/ 41 h 154"/>
              <a:gd name="T58" fmla="*/ 8 w 109"/>
              <a:gd name="T59" fmla="*/ 56 h 154"/>
              <a:gd name="T60" fmla="*/ 19 w 109"/>
              <a:gd name="T61" fmla="*/ 67 h 154"/>
              <a:gd name="T62" fmla="*/ 49 w 109"/>
              <a:gd name="T63" fmla="*/ 80 h 154"/>
              <a:gd name="T64" fmla="*/ 81 w 109"/>
              <a:gd name="T65" fmla="*/ 90 h 154"/>
              <a:gd name="T66" fmla="*/ 91 w 109"/>
              <a:gd name="T67" fmla="*/ 97 h 154"/>
              <a:gd name="T68" fmla="*/ 94 w 109"/>
              <a:gd name="T69" fmla="*/ 110 h 154"/>
              <a:gd name="T70" fmla="*/ 94 w 109"/>
              <a:gd name="T71" fmla="*/ 116 h 154"/>
              <a:gd name="T72" fmla="*/ 89 w 109"/>
              <a:gd name="T73" fmla="*/ 127 h 154"/>
              <a:gd name="T74" fmla="*/ 79 w 109"/>
              <a:gd name="T75" fmla="*/ 135 h 154"/>
              <a:gd name="T76" fmla="*/ 64 w 109"/>
              <a:gd name="T77" fmla="*/ 139 h 154"/>
              <a:gd name="T78" fmla="*/ 57 w 109"/>
              <a:gd name="T79" fmla="*/ 141 h 154"/>
              <a:gd name="T80" fmla="*/ 28 w 109"/>
              <a:gd name="T81" fmla="*/ 133 h 154"/>
              <a:gd name="T82" fmla="*/ 9 w 109"/>
              <a:gd name="T83" fmla="*/ 11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09" h="154">
                <a:moveTo>
                  <a:pt x="0" y="131"/>
                </a:moveTo>
                <a:lnTo>
                  <a:pt x="0" y="131"/>
                </a:lnTo>
                <a:lnTo>
                  <a:pt x="13" y="141"/>
                </a:lnTo>
                <a:lnTo>
                  <a:pt x="25" y="148"/>
                </a:lnTo>
                <a:lnTo>
                  <a:pt x="40" y="152"/>
                </a:lnTo>
                <a:lnTo>
                  <a:pt x="57" y="154"/>
                </a:lnTo>
                <a:lnTo>
                  <a:pt x="57" y="154"/>
                </a:lnTo>
                <a:lnTo>
                  <a:pt x="68" y="152"/>
                </a:lnTo>
                <a:lnTo>
                  <a:pt x="79" y="150"/>
                </a:lnTo>
                <a:lnTo>
                  <a:pt x="89" y="146"/>
                </a:lnTo>
                <a:lnTo>
                  <a:pt x="96" y="141"/>
                </a:lnTo>
                <a:lnTo>
                  <a:pt x="102" y="135"/>
                </a:lnTo>
                <a:lnTo>
                  <a:pt x="106" y="127"/>
                </a:lnTo>
                <a:lnTo>
                  <a:pt x="109" y="118"/>
                </a:lnTo>
                <a:lnTo>
                  <a:pt x="109" y="110"/>
                </a:lnTo>
                <a:lnTo>
                  <a:pt x="109" y="110"/>
                </a:lnTo>
                <a:lnTo>
                  <a:pt x="109" y="101"/>
                </a:lnTo>
                <a:lnTo>
                  <a:pt x="106" y="92"/>
                </a:lnTo>
                <a:lnTo>
                  <a:pt x="102" y="86"/>
                </a:lnTo>
                <a:lnTo>
                  <a:pt x="96" y="80"/>
                </a:lnTo>
                <a:lnTo>
                  <a:pt x="89" y="77"/>
                </a:lnTo>
                <a:lnTo>
                  <a:pt x="81" y="73"/>
                </a:lnTo>
                <a:lnTo>
                  <a:pt x="64" y="67"/>
                </a:lnTo>
                <a:lnTo>
                  <a:pt x="47" y="63"/>
                </a:lnTo>
                <a:lnTo>
                  <a:pt x="34" y="58"/>
                </a:lnTo>
                <a:lnTo>
                  <a:pt x="28" y="54"/>
                </a:lnTo>
                <a:lnTo>
                  <a:pt x="23" y="50"/>
                </a:lnTo>
                <a:lnTo>
                  <a:pt x="21" y="47"/>
                </a:lnTo>
                <a:lnTo>
                  <a:pt x="19" y="39"/>
                </a:lnTo>
                <a:lnTo>
                  <a:pt x="19" y="39"/>
                </a:lnTo>
                <a:lnTo>
                  <a:pt x="21" y="33"/>
                </a:lnTo>
                <a:lnTo>
                  <a:pt x="23" y="30"/>
                </a:lnTo>
                <a:lnTo>
                  <a:pt x="25" y="24"/>
                </a:lnTo>
                <a:lnTo>
                  <a:pt x="28" y="20"/>
                </a:lnTo>
                <a:lnTo>
                  <a:pt x="34" y="18"/>
                </a:lnTo>
                <a:lnTo>
                  <a:pt x="40" y="15"/>
                </a:lnTo>
                <a:lnTo>
                  <a:pt x="55" y="13"/>
                </a:lnTo>
                <a:lnTo>
                  <a:pt x="55" y="13"/>
                </a:lnTo>
                <a:lnTo>
                  <a:pt x="68" y="15"/>
                </a:lnTo>
                <a:lnTo>
                  <a:pt x="81" y="18"/>
                </a:lnTo>
                <a:lnTo>
                  <a:pt x="91" y="24"/>
                </a:lnTo>
                <a:lnTo>
                  <a:pt x="98" y="31"/>
                </a:lnTo>
                <a:lnTo>
                  <a:pt x="108" y="20"/>
                </a:lnTo>
                <a:lnTo>
                  <a:pt x="108" y="20"/>
                </a:lnTo>
                <a:lnTo>
                  <a:pt x="98" y="13"/>
                </a:lnTo>
                <a:lnTo>
                  <a:pt x="87" y="5"/>
                </a:lnTo>
                <a:lnTo>
                  <a:pt x="72" y="1"/>
                </a:lnTo>
                <a:lnTo>
                  <a:pt x="55" y="0"/>
                </a:lnTo>
                <a:lnTo>
                  <a:pt x="55" y="0"/>
                </a:lnTo>
                <a:lnTo>
                  <a:pt x="43" y="0"/>
                </a:lnTo>
                <a:lnTo>
                  <a:pt x="34" y="3"/>
                </a:lnTo>
                <a:lnTo>
                  <a:pt x="25" y="7"/>
                </a:lnTo>
                <a:lnTo>
                  <a:pt x="17" y="11"/>
                </a:lnTo>
                <a:lnTo>
                  <a:pt x="11" y="18"/>
                </a:lnTo>
                <a:lnTo>
                  <a:pt x="8" y="24"/>
                </a:lnTo>
                <a:lnTo>
                  <a:pt x="6" y="31"/>
                </a:lnTo>
                <a:lnTo>
                  <a:pt x="4" y="41"/>
                </a:lnTo>
                <a:lnTo>
                  <a:pt x="4" y="41"/>
                </a:lnTo>
                <a:lnTo>
                  <a:pt x="6" y="48"/>
                </a:lnTo>
                <a:lnTo>
                  <a:pt x="8" y="56"/>
                </a:lnTo>
                <a:lnTo>
                  <a:pt x="13" y="63"/>
                </a:lnTo>
                <a:lnTo>
                  <a:pt x="19" y="67"/>
                </a:lnTo>
                <a:lnTo>
                  <a:pt x="32" y="75"/>
                </a:lnTo>
                <a:lnTo>
                  <a:pt x="49" y="80"/>
                </a:lnTo>
                <a:lnTo>
                  <a:pt x="66" y="84"/>
                </a:lnTo>
                <a:lnTo>
                  <a:pt x="81" y="90"/>
                </a:lnTo>
                <a:lnTo>
                  <a:pt x="87" y="94"/>
                </a:lnTo>
                <a:lnTo>
                  <a:pt x="91" y="97"/>
                </a:lnTo>
                <a:lnTo>
                  <a:pt x="94" y="103"/>
                </a:lnTo>
                <a:lnTo>
                  <a:pt x="94" y="110"/>
                </a:lnTo>
                <a:lnTo>
                  <a:pt x="94" y="110"/>
                </a:lnTo>
                <a:lnTo>
                  <a:pt x="94" y="116"/>
                </a:lnTo>
                <a:lnTo>
                  <a:pt x="92" y="122"/>
                </a:lnTo>
                <a:lnTo>
                  <a:pt x="89" y="127"/>
                </a:lnTo>
                <a:lnTo>
                  <a:pt x="85" y="131"/>
                </a:lnTo>
                <a:lnTo>
                  <a:pt x="79" y="135"/>
                </a:lnTo>
                <a:lnTo>
                  <a:pt x="72" y="137"/>
                </a:lnTo>
                <a:lnTo>
                  <a:pt x="64" y="139"/>
                </a:lnTo>
                <a:lnTo>
                  <a:pt x="57" y="141"/>
                </a:lnTo>
                <a:lnTo>
                  <a:pt x="57" y="141"/>
                </a:lnTo>
                <a:lnTo>
                  <a:pt x="42" y="139"/>
                </a:lnTo>
                <a:lnTo>
                  <a:pt x="28" y="133"/>
                </a:lnTo>
                <a:lnTo>
                  <a:pt x="19" y="127"/>
                </a:lnTo>
                <a:lnTo>
                  <a:pt x="9" y="118"/>
                </a:lnTo>
                <a:lnTo>
                  <a:pt x="0" y="13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3F609113-157D-4ADB-A855-89BE38BC6BC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223625" y="1501775"/>
            <a:ext cx="12700" cy="11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1">
            <a:extLst>
              <a:ext uri="{FF2B5EF4-FFF2-40B4-BE49-F238E27FC236}">
                <a16:creationId xmlns:a16="http://schemas.microsoft.com/office/drawing/2014/main" id="{65560BD8-A9F7-4C8E-B9A6-5FBEE6F440BE}"/>
              </a:ext>
            </a:extLst>
          </p:cNvPr>
          <p:cNvSpPr>
            <a:spLocks/>
          </p:cNvSpPr>
          <p:nvPr userDrawn="1"/>
        </p:nvSpPr>
        <p:spPr bwMode="auto">
          <a:xfrm>
            <a:off x="11166475" y="1455738"/>
            <a:ext cx="42863" cy="165100"/>
          </a:xfrm>
          <a:custGeom>
            <a:avLst/>
            <a:gdLst>
              <a:gd name="T0" fmla="*/ 0 w 53"/>
              <a:gd name="T1" fmla="*/ 175 h 207"/>
              <a:gd name="T2" fmla="*/ 0 w 53"/>
              <a:gd name="T3" fmla="*/ 175 h 207"/>
              <a:gd name="T4" fmla="*/ 2 w 53"/>
              <a:gd name="T5" fmla="*/ 188 h 207"/>
              <a:gd name="T6" fmla="*/ 4 w 53"/>
              <a:gd name="T7" fmla="*/ 194 h 207"/>
              <a:gd name="T8" fmla="*/ 8 w 53"/>
              <a:gd name="T9" fmla="*/ 197 h 207"/>
              <a:gd name="T10" fmla="*/ 12 w 53"/>
              <a:gd name="T11" fmla="*/ 201 h 207"/>
              <a:gd name="T12" fmla="*/ 17 w 53"/>
              <a:gd name="T13" fmla="*/ 205 h 207"/>
              <a:gd name="T14" fmla="*/ 23 w 53"/>
              <a:gd name="T15" fmla="*/ 205 h 207"/>
              <a:gd name="T16" fmla="*/ 29 w 53"/>
              <a:gd name="T17" fmla="*/ 207 h 207"/>
              <a:gd name="T18" fmla="*/ 29 w 53"/>
              <a:gd name="T19" fmla="*/ 207 h 207"/>
              <a:gd name="T20" fmla="*/ 38 w 53"/>
              <a:gd name="T21" fmla="*/ 205 h 207"/>
              <a:gd name="T22" fmla="*/ 44 w 53"/>
              <a:gd name="T23" fmla="*/ 203 h 207"/>
              <a:gd name="T24" fmla="*/ 50 w 53"/>
              <a:gd name="T25" fmla="*/ 201 h 207"/>
              <a:gd name="T26" fmla="*/ 53 w 53"/>
              <a:gd name="T27" fmla="*/ 197 h 207"/>
              <a:gd name="T28" fmla="*/ 48 w 53"/>
              <a:gd name="T29" fmla="*/ 184 h 207"/>
              <a:gd name="T30" fmla="*/ 48 w 53"/>
              <a:gd name="T31" fmla="*/ 184 h 207"/>
              <a:gd name="T32" fmla="*/ 40 w 53"/>
              <a:gd name="T33" fmla="*/ 190 h 207"/>
              <a:gd name="T34" fmla="*/ 36 w 53"/>
              <a:gd name="T35" fmla="*/ 192 h 207"/>
              <a:gd name="T36" fmla="*/ 31 w 53"/>
              <a:gd name="T37" fmla="*/ 192 h 207"/>
              <a:gd name="T38" fmla="*/ 31 w 53"/>
              <a:gd name="T39" fmla="*/ 192 h 207"/>
              <a:gd name="T40" fmla="*/ 25 w 53"/>
              <a:gd name="T41" fmla="*/ 190 h 207"/>
              <a:gd name="T42" fmla="*/ 21 w 53"/>
              <a:gd name="T43" fmla="*/ 186 h 207"/>
              <a:gd name="T44" fmla="*/ 17 w 53"/>
              <a:gd name="T45" fmla="*/ 180 h 207"/>
              <a:gd name="T46" fmla="*/ 17 w 53"/>
              <a:gd name="T47" fmla="*/ 173 h 207"/>
              <a:gd name="T48" fmla="*/ 17 w 53"/>
              <a:gd name="T49" fmla="*/ 0 h 207"/>
              <a:gd name="T50" fmla="*/ 0 w 53"/>
              <a:gd name="T51" fmla="*/ 0 h 207"/>
              <a:gd name="T52" fmla="*/ 0 w 53"/>
              <a:gd name="T53" fmla="*/ 175 h 2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3" h="207">
                <a:moveTo>
                  <a:pt x="0" y="175"/>
                </a:moveTo>
                <a:lnTo>
                  <a:pt x="0" y="175"/>
                </a:lnTo>
                <a:lnTo>
                  <a:pt x="2" y="188"/>
                </a:lnTo>
                <a:lnTo>
                  <a:pt x="4" y="194"/>
                </a:lnTo>
                <a:lnTo>
                  <a:pt x="8" y="197"/>
                </a:lnTo>
                <a:lnTo>
                  <a:pt x="12" y="201"/>
                </a:lnTo>
                <a:lnTo>
                  <a:pt x="17" y="205"/>
                </a:lnTo>
                <a:lnTo>
                  <a:pt x="23" y="205"/>
                </a:lnTo>
                <a:lnTo>
                  <a:pt x="29" y="207"/>
                </a:lnTo>
                <a:lnTo>
                  <a:pt x="29" y="207"/>
                </a:lnTo>
                <a:lnTo>
                  <a:pt x="38" y="205"/>
                </a:lnTo>
                <a:lnTo>
                  <a:pt x="44" y="203"/>
                </a:lnTo>
                <a:lnTo>
                  <a:pt x="50" y="201"/>
                </a:lnTo>
                <a:lnTo>
                  <a:pt x="53" y="197"/>
                </a:lnTo>
                <a:lnTo>
                  <a:pt x="48" y="184"/>
                </a:lnTo>
                <a:lnTo>
                  <a:pt x="48" y="184"/>
                </a:lnTo>
                <a:lnTo>
                  <a:pt x="40" y="190"/>
                </a:lnTo>
                <a:lnTo>
                  <a:pt x="36" y="192"/>
                </a:lnTo>
                <a:lnTo>
                  <a:pt x="31" y="192"/>
                </a:lnTo>
                <a:lnTo>
                  <a:pt x="31" y="192"/>
                </a:lnTo>
                <a:lnTo>
                  <a:pt x="25" y="190"/>
                </a:lnTo>
                <a:lnTo>
                  <a:pt x="21" y="186"/>
                </a:lnTo>
                <a:lnTo>
                  <a:pt x="17" y="180"/>
                </a:lnTo>
                <a:lnTo>
                  <a:pt x="17" y="173"/>
                </a:lnTo>
                <a:lnTo>
                  <a:pt x="17" y="0"/>
                </a:lnTo>
                <a:lnTo>
                  <a:pt x="0" y="0"/>
                </a:lnTo>
                <a:lnTo>
                  <a:pt x="0" y="17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Freeform 12">
            <a:extLst>
              <a:ext uri="{FF2B5EF4-FFF2-40B4-BE49-F238E27FC236}">
                <a16:creationId xmlns:a16="http://schemas.microsoft.com/office/drawing/2014/main" id="{66F23ECB-318E-4BD6-B680-5BC0BA9D435E}"/>
              </a:ext>
            </a:extLst>
          </p:cNvPr>
          <p:cNvSpPr>
            <a:spLocks/>
          </p:cNvSpPr>
          <p:nvPr userDrawn="1"/>
        </p:nvSpPr>
        <p:spPr bwMode="auto">
          <a:xfrm>
            <a:off x="11112500" y="1455738"/>
            <a:ext cx="42863" cy="165100"/>
          </a:xfrm>
          <a:custGeom>
            <a:avLst/>
            <a:gdLst>
              <a:gd name="T0" fmla="*/ 0 w 52"/>
              <a:gd name="T1" fmla="*/ 175 h 207"/>
              <a:gd name="T2" fmla="*/ 0 w 52"/>
              <a:gd name="T3" fmla="*/ 175 h 207"/>
              <a:gd name="T4" fmla="*/ 1 w 52"/>
              <a:gd name="T5" fmla="*/ 188 h 207"/>
              <a:gd name="T6" fmla="*/ 3 w 52"/>
              <a:gd name="T7" fmla="*/ 194 h 207"/>
              <a:gd name="T8" fmla="*/ 7 w 52"/>
              <a:gd name="T9" fmla="*/ 197 h 207"/>
              <a:gd name="T10" fmla="*/ 11 w 52"/>
              <a:gd name="T11" fmla="*/ 201 h 207"/>
              <a:gd name="T12" fmla="*/ 15 w 52"/>
              <a:gd name="T13" fmla="*/ 205 h 207"/>
              <a:gd name="T14" fmla="*/ 20 w 52"/>
              <a:gd name="T15" fmla="*/ 205 h 207"/>
              <a:gd name="T16" fmla="*/ 28 w 52"/>
              <a:gd name="T17" fmla="*/ 207 h 207"/>
              <a:gd name="T18" fmla="*/ 28 w 52"/>
              <a:gd name="T19" fmla="*/ 207 h 207"/>
              <a:gd name="T20" fmla="*/ 35 w 52"/>
              <a:gd name="T21" fmla="*/ 205 h 207"/>
              <a:gd name="T22" fmla="*/ 41 w 52"/>
              <a:gd name="T23" fmla="*/ 203 h 207"/>
              <a:gd name="T24" fmla="*/ 47 w 52"/>
              <a:gd name="T25" fmla="*/ 201 h 207"/>
              <a:gd name="T26" fmla="*/ 52 w 52"/>
              <a:gd name="T27" fmla="*/ 197 h 207"/>
              <a:gd name="T28" fmla="*/ 45 w 52"/>
              <a:gd name="T29" fmla="*/ 184 h 207"/>
              <a:gd name="T30" fmla="*/ 45 w 52"/>
              <a:gd name="T31" fmla="*/ 184 h 207"/>
              <a:gd name="T32" fmla="*/ 39 w 52"/>
              <a:gd name="T33" fmla="*/ 190 h 207"/>
              <a:gd name="T34" fmla="*/ 35 w 52"/>
              <a:gd name="T35" fmla="*/ 192 h 207"/>
              <a:gd name="T36" fmla="*/ 30 w 52"/>
              <a:gd name="T37" fmla="*/ 192 h 207"/>
              <a:gd name="T38" fmla="*/ 30 w 52"/>
              <a:gd name="T39" fmla="*/ 192 h 207"/>
              <a:gd name="T40" fmla="*/ 22 w 52"/>
              <a:gd name="T41" fmla="*/ 190 h 207"/>
              <a:gd name="T42" fmla="*/ 18 w 52"/>
              <a:gd name="T43" fmla="*/ 186 h 207"/>
              <a:gd name="T44" fmla="*/ 16 w 52"/>
              <a:gd name="T45" fmla="*/ 180 h 207"/>
              <a:gd name="T46" fmla="*/ 15 w 52"/>
              <a:gd name="T47" fmla="*/ 173 h 207"/>
              <a:gd name="T48" fmla="*/ 15 w 52"/>
              <a:gd name="T49" fmla="*/ 0 h 207"/>
              <a:gd name="T50" fmla="*/ 0 w 52"/>
              <a:gd name="T51" fmla="*/ 0 h 207"/>
              <a:gd name="T52" fmla="*/ 0 w 52"/>
              <a:gd name="T53" fmla="*/ 175 h 2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2" h="207">
                <a:moveTo>
                  <a:pt x="0" y="175"/>
                </a:moveTo>
                <a:lnTo>
                  <a:pt x="0" y="175"/>
                </a:lnTo>
                <a:lnTo>
                  <a:pt x="1" y="188"/>
                </a:lnTo>
                <a:lnTo>
                  <a:pt x="3" y="194"/>
                </a:lnTo>
                <a:lnTo>
                  <a:pt x="7" y="197"/>
                </a:lnTo>
                <a:lnTo>
                  <a:pt x="11" y="201"/>
                </a:lnTo>
                <a:lnTo>
                  <a:pt x="15" y="205"/>
                </a:lnTo>
                <a:lnTo>
                  <a:pt x="20" y="205"/>
                </a:lnTo>
                <a:lnTo>
                  <a:pt x="28" y="207"/>
                </a:lnTo>
                <a:lnTo>
                  <a:pt x="28" y="207"/>
                </a:lnTo>
                <a:lnTo>
                  <a:pt x="35" y="205"/>
                </a:lnTo>
                <a:lnTo>
                  <a:pt x="41" y="203"/>
                </a:lnTo>
                <a:lnTo>
                  <a:pt x="47" y="201"/>
                </a:lnTo>
                <a:lnTo>
                  <a:pt x="52" y="197"/>
                </a:lnTo>
                <a:lnTo>
                  <a:pt x="45" y="184"/>
                </a:lnTo>
                <a:lnTo>
                  <a:pt x="45" y="184"/>
                </a:lnTo>
                <a:lnTo>
                  <a:pt x="39" y="190"/>
                </a:lnTo>
                <a:lnTo>
                  <a:pt x="35" y="192"/>
                </a:lnTo>
                <a:lnTo>
                  <a:pt x="30" y="192"/>
                </a:lnTo>
                <a:lnTo>
                  <a:pt x="30" y="192"/>
                </a:lnTo>
                <a:lnTo>
                  <a:pt x="22" y="190"/>
                </a:lnTo>
                <a:lnTo>
                  <a:pt x="18" y="186"/>
                </a:lnTo>
                <a:lnTo>
                  <a:pt x="16" y="180"/>
                </a:lnTo>
                <a:lnTo>
                  <a:pt x="15" y="173"/>
                </a:lnTo>
                <a:lnTo>
                  <a:pt x="15" y="0"/>
                </a:lnTo>
                <a:lnTo>
                  <a:pt x="0" y="0"/>
                </a:lnTo>
                <a:lnTo>
                  <a:pt x="0" y="17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E5A48534-D8EB-45B9-85EA-14864BBA35DB}"/>
              </a:ext>
            </a:extLst>
          </p:cNvPr>
          <p:cNvSpPr>
            <a:spLocks/>
          </p:cNvSpPr>
          <p:nvPr userDrawn="1"/>
        </p:nvSpPr>
        <p:spPr bwMode="auto">
          <a:xfrm>
            <a:off x="10995025" y="1508125"/>
            <a:ext cx="84138" cy="46037"/>
          </a:xfrm>
          <a:custGeom>
            <a:avLst/>
            <a:gdLst>
              <a:gd name="T0" fmla="*/ 53 w 106"/>
              <a:gd name="T1" fmla="*/ 0 h 56"/>
              <a:gd name="T2" fmla="*/ 53 w 106"/>
              <a:gd name="T3" fmla="*/ 0 h 56"/>
              <a:gd name="T4" fmla="*/ 42 w 106"/>
              <a:gd name="T5" fmla="*/ 2 h 56"/>
              <a:gd name="T6" fmla="*/ 31 w 106"/>
              <a:gd name="T7" fmla="*/ 5 h 56"/>
              <a:gd name="T8" fmla="*/ 23 w 106"/>
              <a:gd name="T9" fmla="*/ 11 h 56"/>
              <a:gd name="T10" fmla="*/ 15 w 106"/>
              <a:gd name="T11" fmla="*/ 18 h 56"/>
              <a:gd name="T12" fmla="*/ 10 w 106"/>
              <a:gd name="T13" fmla="*/ 28 h 56"/>
              <a:gd name="T14" fmla="*/ 6 w 106"/>
              <a:gd name="T15" fmla="*/ 37 h 56"/>
              <a:gd name="T16" fmla="*/ 2 w 106"/>
              <a:gd name="T17" fmla="*/ 47 h 56"/>
              <a:gd name="T18" fmla="*/ 0 w 106"/>
              <a:gd name="T19" fmla="*/ 56 h 56"/>
              <a:gd name="T20" fmla="*/ 106 w 106"/>
              <a:gd name="T21" fmla="*/ 56 h 56"/>
              <a:gd name="T22" fmla="*/ 106 w 106"/>
              <a:gd name="T23" fmla="*/ 56 h 56"/>
              <a:gd name="T24" fmla="*/ 104 w 106"/>
              <a:gd name="T25" fmla="*/ 47 h 56"/>
              <a:gd name="T26" fmla="*/ 102 w 106"/>
              <a:gd name="T27" fmla="*/ 37 h 56"/>
              <a:gd name="T28" fmla="*/ 99 w 106"/>
              <a:gd name="T29" fmla="*/ 28 h 56"/>
              <a:gd name="T30" fmla="*/ 93 w 106"/>
              <a:gd name="T31" fmla="*/ 18 h 56"/>
              <a:gd name="T32" fmla="*/ 85 w 106"/>
              <a:gd name="T33" fmla="*/ 11 h 56"/>
              <a:gd name="T34" fmla="*/ 76 w 106"/>
              <a:gd name="T35" fmla="*/ 5 h 56"/>
              <a:gd name="T36" fmla="*/ 66 w 106"/>
              <a:gd name="T37" fmla="*/ 2 h 56"/>
              <a:gd name="T38" fmla="*/ 53 w 106"/>
              <a:gd name="T39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6" h="56">
                <a:moveTo>
                  <a:pt x="53" y="0"/>
                </a:moveTo>
                <a:lnTo>
                  <a:pt x="53" y="0"/>
                </a:lnTo>
                <a:lnTo>
                  <a:pt x="42" y="2"/>
                </a:lnTo>
                <a:lnTo>
                  <a:pt x="31" y="5"/>
                </a:lnTo>
                <a:lnTo>
                  <a:pt x="23" y="11"/>
                </a:lnTo>
                <a:lnTo>
                  <a:pt x="15" y="18"/>
                </a:lnTo>
                <a:lnTo>
                  <a:pt x="10" y="28"/>
                </a:lnTo>
                <a:lnTo>
                  <a:pt x="6" y="37"/>
                </a:lnTo>
                <a:lnTo>
                  <a:pt x="2" y="47"/>
                </a:lnTo>
                <a:lnTo>
                  <a:pt x="0" y="56"/>
                </a:lnTo>
                <a:lnTo>
                  <a:pt x="106" y="56"/>
                </a:lnTo>
                <a:lnTo>
                  <a:pt x="106" y="56"/>
                </a:lnTo>
                <a:lnTo>
                  <a:pt x="104" y="47"/>
                </a:lnTo>
                <a:lnTo>
                  <a:pt x="102" y="37"/>
                </a:lnTo>
                <a:lnTo>
                  <a:pt x="99" y="28"/>
                </a:lnTo>
                <a:lnTo>
                  <a:pt x="93" y="18"/>
                </a:lnTo>
                <a:lnTo>
                  <a:pt x="85" y="11"/>
                </a:lnTo>
                <a:lnTo>
                  <a:pt x="76" y="5"/>
                </a:lnTo>
                <a:lnTo>
                  <a:pt x="66" y="2"/>
                </a:lnTo>
                <a:lnTo>
                  <a:pt x="5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90D0D8EF-678A-41F7-8723-A8DDA3424E5C}"/>
              </a:ext>
            </a:extLst>
          </p:cNvPr>
          <p:cNvSpPr>
            <a:spLocks/>
          </p:cNvSpPr>
          <p:nvPr userDrawn="1"/>
        </p:nvSpPr>
        <p:spPr bwMode="auto">
          <a:xfrm>
            <a:off x="10982325" y="1498600"/>
            <a:ext cx="107950" cy="122237"/>
          </a:xfrm>
          <a:custGeom>
            <a:avLst/>
            <a:gdLst>
              <a:gd name="T0" fmla="*/ 0 w 136"/>
              <a:gd name="T1" fmla="*/ 77 h 154"/>
              <a:gd name="T2" fmla="*/ 0 w 136"/>
              <a:gd name="T3" fmla="*/ 77 h 154"/>
              <a:gd name="T4" fmla="*/ 0 w 136"/>
              <a:gd name="T5" fmla="*/ 62 h 154"/>
              <a:gd name="T6" fmla="*/ 4 w 136"/>
              <a:gd name="T7" fmla="*/ 47 h 154"/>
              <a:gd name="T8" fmla="*/ 12 w 136"/>
              <a:gd name="T9" fmla="*/ 33 h 154"/>
              <a:gd name="T10" fmla="*/ 19 w 136"/>
              <a:gd name="T11" fmla="*/ 22 h 154"/>
              <a:gd name="T12" fmla="*/ 29 w 136"/>
              <a:gd name="T13" fmla="*/ 13 h 154"/>
              <a:gd name="T14" fmla="*/ 42 w 136"/>
              <a:gd name="T15" fmla="*/ 5 h 154"/>
              <a:gd name="T16" fmla="*/ 55 w 136"/>
              <a:gd name="T17" fmla="*/ 1 h 154"/>
              <a:gd name="T18" fmla="*/ 68 w 136"/>
              <a:gd name="T19" fmla="*/ 0 h 154"/>
              <a:gd name="T20" fmla="*/ 68 w 136"/>
              <a:gd name="T21" fmla="*/ 0 h 154"/>
              <a:gd name="T22" fmla="*/ 83 w 136"/>
              <a:gd name="T23" fmla="*/ 1 h 154"/>
              <a:gd name="T24" fmla="*/ 98 w 136"/>
              <a:gd name="T25" fmla="*/ 5 h 154"/>
              <a:gd name="T26" fmla="*/ 110 w 136"/>
              <a:gd name="T27" fmla="*/ 13 h 154"/>
              <a:gd name="T28" fmla="*/ 119 w 136"/>
              <a:gd name="T29" fmla="*/ 22 h 154"/>
              <a:gd name="T30" fmla="*/ 127 w 136"/>
              <a:gd name="T31" fmla="*/ 33 h 154"/>
              <a:gd name="T32" fmla="*/ 132 w 136"/>
              <a:gd name="T33" fmla="*/ 47 h 154"/>
              <a:gd name="T34" fmla="*/ 134 w 136"/>
              <a:gd name="T35" fmla="*/ 62 h 154"/>
              <a:gd name="T36" fmla="*/ 136 w 136"/>
              <a:gd name="T37" fmla="*/ 77 h 154"/>
              <a:gd name="T38" fmla="*/ 136 w 136"/>
              <a:gd name="T39" fmla="*/ 82 h 154"/>
              <a:gd name="T40" fmla="*/ 15 w 136"/>
              <a:gd name="T41" fmla="*/ 82 h 154"/>
              <a:gd name="T42" fmla="*/ 15 w 136"/>
              <a:gd name="T43" fmla="*/ 82 h 154"/>
              <a:gd name="T44" fmla="*/ 17 w 136"/>
              <a:gd name="T45" fmla="*/ 94 h 154"/>
              <a:gd name="T46" fmla="*/ 21 w 136"/>
              <a:gd name="T47" fmla="*/ 105 h 154"/>
              <a:gd name="T48" fmla="*/ 27 w 136"/>
              <a:gd name="T49" fmla="*/ 114 h 154"/>
              <a:gd name="T50" fmla="*/ 32 w 136"/>
              <a:gd name="T51" fmla="*/ 122 h 154"/>
              <a:gd name="T52" fmla="*/ 40 w 136"/>
              <a:gd name="T53" fmla="*/ 129 h 154"/>
              <a:gd name="T54" fmla="*/ 49 w 136"/>
              <a:gd name="T55" fmla="*/ 135 h 154"/>
              <a:gd name="T56" fmla="*/ 61 w 136"/>
              <a:gd name="T57" fmla="*/ 139 h 154"/>
              <a:gd name="T58" fmla="*/ 72 w 136"/>
              <a:gd name="T59" fmla="*/ 141 h 154"/>
              <a:gd name="T60" fmla="*/ 72 w 136"/>
              <a:gd name="T61" fmla="*/ 141 h 154"/>
              <a:gd name="T62" fmla="*/ 85 w 136"/>
              <a:gd name="T63" fmla="*/ 139 h 154"/>
              <a:gd name="T64" fmla="*/ 98 w 136"/>
              <a:gd name="T65" fmla="*/ 135 h 154"/>
              <a:gd name="T66" fmla="*/ 110 w 136"/>
              <a:gd name="T67" fmla="*/ 127 h 154"/>
              <a:gd name="T68" fmla="*/ 119 w 136"/>
              <a:gd name="T69" fmla="*/ 120 h 154"/>
              <a:gd name="T70" fmla="*/ 127 w 136"/>
              <a:gd name="T71" fmla="*/ 129 h 154"/>
              <a:gd name="T72" fmla="*/ 127 w 136"/>
              <a:gd name="T73" fmla="*/ 129 h 154"/>
              <a:gd name="T74" fmla="*/ 115 w 136"/>
              <a:gd name="T75" fmla="*/ 141 h 154"/>
              <a:gd name="T76" fmla="*/ 102 w 136"/>
              <a:gd name="T77" fmla="*/ 146 h 154"/>
              <a:gd name="T78" fmla="*/ 89 w 136"/>
              <a:gd name="T79" fmla="*/ 152 h 154"/>
              <a:gd name="T80" fmla="*/ 72 w 136"/>
              <a:gd name="T81" fmla="*/ 154 h 154"/>
              <a:gd name="T82" fmla="*/ 72 w 136"/>
              <a:gd name="T83" fmla="*/ 154 h 154"/>
              <a:gd name="T84" fmla="*/ 57 w 136"/>
              <a:gd name="T85" fmla="*/ 152 h 154"/>
              <a:gd name="T86" fmla="*/ 42 w 136"/>
              <a:gd name="T87" fmla="*/ 148 h 154"/>
              <a:gd name="T88" fmla="*/ 30 w 136"/>
              <a:gd name="T89" fmla="*/ 141 h 154"/>
              <a:gd name="T90" fmla="*/ 19 w 136"/>
              <a:gd name="T91" fmla="*/ 131 h 154"/>
              <a:gd name="T92" fmla="*/ 12 w 136"/>
              <a:gd name="T93" fmla="*/ 120 h 154"/>
              <a:gd name="T94" fmla="*/ 4 w 136"/>
              <a:gd name="T95" fmla="*/ 107 h 154"/>
              <a:gd name="T96" fmla="*/ 0 w 136"/>
              <a:gd name="T97" fmla="*/ 92 h 154"/>
              <a:gd name="T98" fmla="*/ 0 w 136"/>
              <a:gd name="T9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36" h="154">
                <a:moveTo>
                  <a:pt x="0" y="77"/>
                </a:moveTo>
                <a:lnTo>
                  <a:pt x="0" y="77"/>
                </a:lnTo>
                <a:lnTo>
                  <a:pt x="0" y="62"/>
                </a:lnTo>
                <a:lnTo>
                  <a:pt x="4" y="47"/>
                </a:lnTo>
                <a:lnTo>
                  <a:pt x="12" y="33"/>
                </a:lnTo>
                <a:lnTo>
                  <a:pt x="19" y="22"/>
                </a:lnTo>
                <a:lnTo>
                  <a:pt x="29" y="13"/>
                </a:lnTo>
                <a:lnTo>
                  <a:pt x="42" y="5"/>
                </a:lnTo>
                <a:lnTo>
                  <a:pt x="55" y="1"/>
                </a:lnTo>
                <a:lnTo>
                  <a:pt x="68" y="0"/>
                </a:lnTo>
                <a:lnTo>
                  <a:pt x="68" y="0"/>
                </a:lnTo>
                <a:lnTo>
                  <a:pt x="83" y="1"/>
                </a:lnTo>
                <a:lnTo>
                  <a:pt x="98" y="5"/>
                </a:lnTo>
                <a:lnTo>
                  <a:pt x="110" y="13"/>
                </a:lnTo>
                <a:lnTo>
                  <a:pt x="119" y="22"/>
                </a:lnTo>
                <a:lnTo>
                  <a:pt x="127" y="33"/>
                </a:lnTo>
                <a:lnTo>
                  <a:pt x="132" y="47"/>
                </a:lnTo>
                <a:lnTo>
                  <a:pt x="134" y="62"/>
                </a:lnTo>
                <a:lnTo>
                  <a:pt x="136" y="77"/>
                </a:lnTo>
                <a:lnTo>
                  <a:pt x="136" y="82"/>
                </a:lnTo>
                <a:lnTo>
                  <a:pt x="15" y="82"/>
                </a:lnTo>
                <a:lnTo>
                  <a:pt x="15" y="82"/>
                </a:lnTo>
                <a:lnTo>
                  <a:pt x="17" y="94"/>
                </a:lnTo>
                <a:lnTo>
                  <a:pt x="21" y="105"/>
                </a:lnTo>
                <a:lnTo>
                  <a:pt x="27" y="114"/>
                </a:lnTo>
                <a:lnTo>
                  <a:pt x="32" y="122"/>
                </a:lnTo>
                <a:lnTo>
                  <a:pt x="40" y="129"/>
                </a:lnTo>
                <a:lnTo>
                  <a:pt x="49" y="135"/>
                </a:lnTo>
                <a:lnTo>
                  <a:pt x="61" y="139"/>
                </a:lnTo>
                <a:lnTo>
                  <a:pt x="72" y="141"/>
                </a:lnTo>
                <a:lnTo>
                  <a:pt x="72" y="141"/>
                </a:lnTo>
                <a:lnTo>
                  <a:pt x="85" y="139"/>
                </a:lnTo>
                <a:lnTo>
                  <a:pt x="98" y="135"/>
                </a:lnTo>
                <a:lnTo>
                  <a:pt x="110" y="127"/>
                </a:lnTo>
                <a:lnTo>
                  <a:pt x="119" y="120"/>
                </a:lnTo>
                <a:lnTo>
                  <a:pt x="127" y="129"/>
                </a:lnTo>
                <a:lnTo>
                  <a:pt x="127" y="129"/>
                </a:lnTo>
                <a:lnTo>
                  <a:pt x="115" y="141"/>
                </a:lnTo>
                <a:lnTo>
                  <a:pt x="102" y="146"/>
                </a:lnTo>
                <a:lnTo>
                  <a:pt x="89" y="152"/>
                </a:lnTo>
                <a:lnTo>
                  <a:pt x="72" y="154"/>
                </a:lnTo>
                <a:lnTo>
                  <a:pt x="72" y="154"/>
                </a:lnTo>
                <a:lnTo>
                  <a:pt x="57" y="152"/>
                </a:lnTo>
                <a:lnTo>
                  <a:pt x="42" y="148"/>
                </a:lnTo>
                <a:lnTo>
                  <a:pt x="30" y="141"/>
                </a:lnTo>
                <a:lnTo>
                  <a:pt x="19" y="131"/>
                </a:lnTo>
                <a:lnTo>
                  <a:pt x="12" y="120"/>
                </a:lnTo>
                <a:lnTo>
                  <a:pt x="4" y="107"/>
                </a:lnTo>
                <a:lnTo>
                  <a:pt x="0" y="92"/>
                </a:lnTo>
                <a:lnTo>
                  <a:pt x="0" y="77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Freeform 15">
            <a:extLst>
              <a:ext uri="{FF2B5EF4-FFF2-40B4-BE49-F238E27FC236}">
                <a16:creationId xmlns:a16="http://schemas.microsoft.com/office/drawing/2014/main" id="{D4BB39C4-4849-468C-9DEA-2CF9B8CDE382}"/>
              </a:ext>
            </a:extLst>
          </p:cNvPr>
          <p:cNvSpPr>
            <a:spLocks/>
          </p:cNvSpPr>
          <p:nvPr userDrawn="1"/>
        </p:nvSpPr>
        <p:spPr bwMode="auto">
          <a:xfrm>
            <a:off x="10874375" y="1509713"/>
            <a:ext cx="77788" cy="98425"/>
          </a:xfrm>
          <a:custGeom>
            <a:avLst/>
            <a:gdLst>
              <a:gd name="T0" fmla="*/ 98 w 98"/>
              <a:gd name="T1" fmla="*/ 62 h 124"/>
              <a:gd name="T2" fmla="*/ 98 w 98"/>
              <a:gd name="T3" fmla="*/ 62 h 124"/>
              <a:gd name="T4" fmla="*/ 97 w 98"/>
              <a:gd name="T5" fmla="*/ 48 h 124"/>
              <a:gd name="T6" fmla="*/ 95 w 98"/>
              <a:gd name="T7" fmla="*/ 37 h 124"/>
              <a:gd name="T8" fmla="*/ 91 w 98"/>
              <a:gd name="T9" fmla="*/ 26 h 124"/>
              <a:gd name="T10" fmla="*/ 85 w 98"/>
              <a:gd name="T11" fmla="*/ 16 h 124"/>
              <a:gd name="T12" fmla="*/ 78 w 98"/>
              <a:gd name="T13" fmla="*/ 9 h 124"/>
              <a:gd name="T14" fmla="*/ 70 w 98"/>
              <a:gd name="T15" fmla="*/ 3 h 124"/>
              <a:gd name="T16" fmla="*/ 59 w 98"/>
              <a:gd name="T17" fmla="*/ 0 h 124"/>
              <a:gd name="T18" fmla="*/ 48 w 98"/>
              <a:gd name="T19" fmla="*/ 0 h 124"/>
              <a:gd name="T20" fmla="*/ 48 w 98"/>
              <a:gd name="T21" fmla="*/ 0 h 124"/>
              <a:gd name="T22" fmla="*/ 32 w 98"/>
              <a:gd name="T23" fmla="*/ 1 h 124"/>
              <a:gd name="T24" fmla="*/ 19 w 98"/>
              <a:gd name="T25" fmla="*/ 7 h 124"/>
              <a:gd name="T26" fmla="*/ 8 w 98"/>
              <a:gd name="T27" fmla="*/ 15 h 124"/>
              <a:gd name="T28" fmla="*/ 0 w 98"/>
              <a:gd name="T29" fmla="*/ 24 h 124"/>
              <a:gd name="T30" fmla="*/ 0 w 98"/>
              <a:gd name="T31" fmla="*/ 97 h 124"/>
              <a:gd name="T32" fmla="*/ 0 w 98"/>
              <a:gd name="T33" fmla="*/ 97 h 124"/>
              <a:gd name="T34" fmla="*/ 8 w 98"/>
              <a:gd name="T35" fmla="*/ 107 h 124"/>
              <a:gd name="T36" fmla="*/ 19 w 98"/>
              <a:gd name="T37" fmla="*/ 116 h 124"/>
              <a:gd name="T38" fmla="*/ 32 w 98"/>
              <a:gd name="T39" fmla="*/ 122 h 124"/>
              <a:gd name="T40" fmla="*/ 48 w 98"/>
              <a:gd name="T41" fmla="*/ 124 h 124"/>
              <a:gd name="T42" fmla="*/ 48 w 98"/>
              <a:gd name="T43" fmla="*/ 124 h 124"/>
              <a:gd name="T44" fmla="*/ 59 w 98"/>
              <a:gd name="T45" fmla="*/ 124 h 124"/>
              <a:gd name="T46" fmla="*/ 70 w 98"/>
              <a:gd name="T47" fmla="*/ 120 h 124"/>
              <a:gd name="T48" fmla="*/ 78 w 98"/>
              <a:gd name="T49" fmla="*/ 114 h 124"/>
              <a:gd name="T50" fmla="*/ 85 w 98"/>
              <a:gd name="T51" fmla="*/ 107 h 124"/>
              <a:gd name="T52" fmla="*/ 91 w 98"/>
              <a:gd name="T53" fmla="*/ 97 h 124"/>
              <a:gd name="T54" fmla="*/ 95 w 98"/>
              <a:gd name="T55" fmla="*/ 86 h 124"/>
              <a:gd name="T56" fmla="*/ 97 w 98"/>
              <a:gd name="T57" fmla="*/ 75 h 124"/>
              <a:gd name="T58" fmla="*/ 98 w 98"/>
              <a:gd name="T59" fmla="*/ 62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98" h="124">
                <a:moveTo>
                  <a:pt x="98" y="62"/>
                </a:moveTo>
                <a:lnTo>
                  <a:pt x="98" y="62"/>
                </a:lnTo>
                <a:lnTo>
                  <a:pt x="97" y="48"/>
                </a:lnTo>
                <a:lnTo>
                  <a:pt x="95" y="37"/>
                </a:lnTo>
                <a:lnTo>
                  <a:pt x="91" y="26"/>
                </a:lnTo>
                <a:lnTo>
                  <a:pt x="85" y="16"/>
                </a:lnTo>
                <a:lnTo>
                  <a:pt x="78" y="9"/>
                </a:lnTo>
                <a:lnTo>
                  <a:pt x="70" y="3"/>
                </a:lnTo>
                <a:lnTo>
                  <a:pt x="59" y="0"/>
                </a:lnTo>
                <a:lnTo>
                  <a:pt x="48" y="0"/>
                </a:lnTo>
                <a:lnTo>
                  <a:pt x="48" y="0"/>
                </a:lnTo>
                <a:lnTo>
                  <a:pt x="32" y="1"/>
                </a:lnTo>
                <a:lnTo>
                  <a:pt x="19" y="7"/>
                </a:lnTo>
                <a:lnTo>
                  <a:pt x="8" y="15"/>
                </a:lnTo>
                <a:lnTo>
                  <a:pt x="0" y="24"/>
                </a:lnTo>
                <a:lnTo>
                  <a:pt x="0" y="97"/>
                </a:lnTo>
                <a:lnTo>
                  <a:pt x="0" y="97"/>
                </a:lnTo>
                <a:lnTo>
                  <a:pt x="8" y="107"/>
                </a:lnTo>
                <a:lnTo>
                  <a:pt x="19" y="116"/>
                </a:lnTo>
                <a:lnTo>
                  <a:pt x="32" y="122"/>
                </a:lnTo>
                <a:lnTo>
                  <a:pt x="48" y="124"/>
                </a:lnTo>
                <a:lnTo>
                  <a:pt x="48" y="124"/>
                </a:lnTo>
                <a:lnTo>
                  <a:pt x="59" y="124"/>
                </a:lnTo>
                <a:lnTo>
                  <a:pt x="70" y="120"/>
                </a:lnTo>
                <a:lnTo>
                  <a:pt x="78" y="114"/>
                </a:lnTo>
                <a:lnTo>
                  <a:pt x="85" y="107"/>
                </a:lnTo>
                <a:lnTo>
                  <a:pt x="91" y="97"/>
                </a:lnTo>
                <a:lnTo>
                  <a:pt x="95" y="86"/>
                </a:lnTo>
                <a:lnTo>
                  <a:pt x="97" y="75"/>
                </a:lnTo>
                <a:lnTo>
                  <a:pt x="98" y="6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Freeform 16">
            <a:extLst>
              <a:ext uri="{FF2B5EF4-FFF2-40B4-BE49-F238E27FC236}">
                <a16:creationId xmlns:a16="http://schemas.microsoft.com/office/drawing/2014/main" id="{0C8C2CF2-1680-43E4-972D-20FB0B66EAA0}"/>
              </a:ext>
            </a:extLst>
          </p:cNvPr>
          <p:cNvSpPr>
            <a:spLocks/>
          </p:cNvSpPr>
          <p:nvPr userDrawn="1"/>
        </p:nvSpPr>
        <p:spPr bwMode="auto">
          <a:xfrm>
            <a:off x="10863263" y="1498600"/>
            <a:ext cx="103188" cy="161925"/>
          </a:xfrm>
          <a:custGeom>
            <a:avLst/>
            <a:gdLst>
              <a:gd name="T0" fmla="*/ 15 w 130"/>
              <a:gd name="T1" fmla="*/ 125 h 204"/>
              <a:gd name="T2" fmla="*/ 15 w 130"/>
              <a:gd name="T3" fmla="*/ 204 h 204"/>
              <a:gd name="T4" fmla="*/ 0 w 130"/>
              <a:gd name="T5" fmla="*/ 204 h 204"/>
              <a:gd name="T6" fmla="*/ 0 w 130"/>
              <a:gd name="T7" fmla="*/ 3 h 204"/>
              <a:gd name="T8" fmla="*/ 15 w 130"/>
              <a:gd name="T9" fmla="*/ 3 h 204"/>
              <a:gd name="T10" fmla="*/ 15 w 130"/>
              <a:gd name="T11" fmla="*/ 26 h 204"/>
              <a:gd name="T12" fmla="*/ 15 w 130"/>
              <a:gd name="T13" fmla="*/ 26 h 204"/>
              <a:gd name="T14" fmla="*/ 25 w 130"/>
              <a:gd name="T15" fmla="*/ 16 h 204"/>
              <a:gd name="T16" fmla="*/ 36 w 130"/>
              <a:gd name="T17" fmla="*/ 7 h 204"/>
              <a:gd name="T18" fmla="*/ 49 w 130"/>
              <a:gd name="T19" fmla="*/ 1 h 204"/>
              <a:gd name="T20" fmla="*/ 66 w 130"/>
              <a:gd name="T21" fmla="*/ 0 h 204"/>
              <a:gd name="T22" fmla="*/ 66 w 130"/>
              <a:gd name="T23" fmla="*/ 0 h 204"/>
              <a:gd name="T24" fmla="*/ 80 w 130"/>
              <a:gd name="T25" fmla="*/ 1 h 204"/>
              <a:gd name="T26" fmla="*/ 91 w 130"/>
              <a:gd name="T27" fmla="*/ 5 h 204"/>
              <a:gd name="T28" fmla="*/ 102 w 130"/>
              <a:gd name="T29" fmla="*/ 11 h 204"/>
              <a:gd name="T30" fmla="*/ 112 w 130"/>
              <a:gd name="T31" fmla="*/ 20 h 204"/>
              <a:gd name="T32" fmla="*/ 119 w 130"/>
              <a:gd name="T33" fmla="*/ 31 h 204"/>
              <a:gd name="T34" fmla="*/ 125 w 130"/>
              <a:gd name="T35" fmla="*/ 45 h 204"/>
              <a:gd name="T36" fmla="*/ 129 w 130"/>
              <a:gd name="T37" fmla="*/ 60 h 204"/>
              <a:gd name="T38" fmla="*/ 130 w 130"/>
              <a:gd name="T39" fmla="*/ 77 h 204"/>
              <a:gd name="T40" fmla="*/ 130 w 130"/>
              <a:gd name="T41" fmla="*/ 77 h 204"/>
              <a:gd name="T42" fmla="*/ 129 w 130"/>
              <a:gd name="T43" fmla="*/ 94 h 204"/>
              <a:gd name="T44" fmla="*/ 125 w 130"/>
              <a:gd name="T45" fmla="*/ 109 h 204"/>
              <a:gd name="T46" fmla="*/ 119 w 130"/>
              <a:gd name="T47" fmla="*/ 122 h 204"/>
              <a:gd name="T48" fmla="*/ 112 w 130"/>
              <a:gd name="T49" fmla="*/ 133 h 204"/>
              <a:gd name="T50" fmla="*/ 102 w 130"/>
              <a:gd name="T51" fmla="*/ 141 h 204"/>
              <a:gd name="T52" fmla="*/ 91 w 130"/>
              <a:gd name="T53" fmla="*/ 148 h 204"/>
              <a:gd name="T54" fmla="*/ 80 w 130"/>
              <a:gd name="T55" fmla="*/ 152 h 204"/>
              <a:gd name="T56" fmla="*/ 66 w 130"/>
              <a:gd name="T57" fmla="*/ 154 h 204"/>
              <a:gd name="T58" fmla="*/ 66 w 130"/>
              <a:gd name="T59" fmla="*/ 154 h 204"/>
              <a:gd name="T60" fmla="*/ 51 w 130"/>
              <a:gd name="T61" fmla="*/ 152 h 204"/>
              <a:gd name="T62" fmla="*/ 38 w 130"/>
              <a:gd name="T63" fmla="*/ 146 h 204"/>
              <a:gd name="T64" fmla="*/ 25 w 130"/>
              <a:gd name="T65" fmla="*/ 137 h 204"/>
              <a:gd name="T66" fmla="*/ 15 w 130"/>
              <a:gd name="T67" fmla="*/ 125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0" h="204">
                <a:moveTo>
                  <a:pt x="15" y="125"/>
                </a:moveTo>
                <a:lnTo>
                  <a:pt x="15" y="204"/>
                </a:lnTo>
                <a:lnTo>
                  <a:pt x="0" y="204"/>
                </a:lnTo>
                <a:lnTo>
                  <a:pt x="0" y="3"/>
                </a:lnTo>
                <a:lnTo>
                  <a:pt x="15" y="3"/>
                </a:lnTo>
                <a:lnTo>
                  <a:pt x="15" y="26"/>
                </a:lnTo>
                <a:lnTo>
                  <a:pt x="15" y="26"/>
                </a:lnTo>
                <a:lnTo>
                  <a:pt x="25" y="16"/>
                </a:lnTo>
                <a:lnTo>
                  <a:pt x="36" y="7"/>
                </a:lnTo>
                <a:lnTo>
                  <a:pt x="49" y="1"/>
                </a:lnTo>
                <a:lnTo>
                  <a:pt x="66" y="0"/>
                </a:lnTo>
                <a:lnTo>
                  <a:pt x="66" y="0"/>
                </a:lnTo>
                <a:lnTo>
                  <a:pt x="80" y="1"/>
                </a:lnTo>
                <a:lnTo>
                  <a:pt x="91" y="5"/>
                </a:lnTo>
                <a:lnTo>
                  <a:pt x="102" y="11"/>
                </a:lnTo>
                <a:lnTo>
                  <a:pt x="112" y="20"/>
                </a:lnTo>
                <a:lnTo>
                  <a:pt x="119" y="31"/>
                </a:lnTo>
                <a:lnTo>
                  <a:pt x="125" y="45"/>
                </a:lnTo>
                <a:lnTo>
                  <a:pt x="129" y="60"/>
                </a:lnTo>
                <a:lnTo>
                  <a:pt x="130" y="77"/>
                </a:lnTo>
                <a:lnTo>
                  <a:pt x="130" y="77"/>
                </a:lnTo>
                <a:lnTo>
                  <a:pt x="129" y="94"/>
                </a:lnTo>
                <a:lnTo>
                  <a:pt x="125" y="109"/>
                </a:lnTo>
                <a:lnTo>
                  <a:pt x="119" y="122"/>
                </a:lnTo>
                <a:lnTo>
                  <a:pt x="112" y="133"/>
                </a:lnTo>
                <a:lnTo>
                  <a:pt x="102" y="141"/>
                </a:lnTo>
                <a:lnTo>
                  <a:pt x="91" y="148"/>
                </a:lnTo>
                <a:lnTo>
                  <a:pt x="80" y="152"/>
                </a:lnTo>
                <a:lnTo>
                  <a:pt x="66" y="154"/>
                </a:lnTo>
                <a:lnTo>
                  <a:pt x="66" y="154"/>
                </a:lnTo>
                <a:lnTo>
                  <a:pt x="51" y="152"/>
                </a:lnTo>
                <a:lnTo>
                  <a:pt x="38" y="146"/>
                </a:lnTo>
                <a:lnTo>
                  <a:pt x="25" y="137"/>
                </a:lnTo>
                <a:lnTo>
                  <a:pt x="15" y="12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Freeform 17">
            <a:extLst>
              <a:ext uri="{FF2B5EF4-FFF2-40B4-BE49-F238E27FC236}">
                <a16:creationId xmlns:a16="http://schemas.microsoft.com/office/drawing/2014/main" id="{909829D3-501F-4E4B-A04C-B3E0FB543271}"/>
              </a:ext>
            </a:extLst>
          </p:cNvPr>
          <p:cNvSpPr>
            <a:spLocks/>
          </p:cNvSpPr>
          <p:nvPr userDrawn="1"/>
        </p:nvSpPr>
        <p:spPr bwMode="auto">
          <a:xfrm>
            <a:off x="10701338" y="1455738"/>
            <a:ext cx="144463" cy="161925"/>
          </a:xfrm>
          <a:custGeom>
            <a:avLst/>
            <a:gdLst>
              <a:gd name="T0" fmla="*/ 81 w 183"/>
              <a:gd name="T1" fmla="*/ 0 h 203"/>
              <a:gd name="T2" fmla="*/ 0 w 183"/>
              <a:gd name="T3" fmla="*/ 203 h 203"/>
              <a:gd name="T4" fmla="*/ 19 w 183"/>
              <a:gd name="T5" fmla="*/ 203 h 203"/>
              <a:gd name="T6" fmla="*/ 40 w 183"/>
              <a:gd name="T7" fmla="*/ 152 h 203"/>
              <a:gd name="T8" fmla="*/ 144 w 183"/>
              <a:gd name="T9" fmla="*/ 152 h 203"/>
              <a:gd name="T10" fmla="*/ 165 w 183"/>
              <a:gd name="T11" fmla="*/ 203 h 203"/>
              <a:gd name="T12" fmla="*/ 183 w 183"/>
              <a:gd name="T13" fmla="*/ 203 h 203"/>
              <a:gd name="T14" fmla="*/ 102 w 183"/>
              <a:gd name="T15" fmla="*/ 0 h 203"/>
              <a:gd name="T16" fmla="*/ 81 w 183"/>
              <a:gd name="T17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3" h="203">
                <a:moveTo>
                  <a:pt x="81" y="0"/>
                </a:moveTo>
                <a:lnTo>
                  <a:pt x="0" y="203"/>
                </a:lnTo>
                <a:lnTo>
                  <a:pt x="19" y="203"/>
                </a:lnTo>
                <a:lnTo>
                  <a:pt x="40" y="152"/>
                </a:lnTo>
                <a:lnTo>
                  <a:pt x="144" y="152"/>
                </a:lnTo>
                <a:lnTo>
                  <a:pt x="165" y="203"/>
                </a:lnTo>
                <a:lnTo>
                  <a:pt x="183" y="203"/>
                </a:lnTo>
                <a:lnTo>
                  <a:pt x="102" y="0"/>
                </a:lnTo>
                <a:lnTo>
                  <a:pt x="8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92C6EEB7-2A7D-46AB-AD5A-47ADB62D2619}"/>
              </a:ext>
            </a:extLst>
          </p:cNvPr>
          <p:cNvSpPr>
            <a:spLocks/>
          </p:cNvSpPr>
          <p:nvPr userDrawn="1"/>
        </p:nvSpPr>
        <p:spPr bwMode="auto">
          <a:xfrm>
            <a:off x="10736263" y="1471613"/>
            <a:ext cx="74613" cy="93662"/>
          </a:xfrm>
          <a:custGeom>
            <a:avLst/>
            <a:gdLst>
              <a:gd name="T0" fmla="*/ 47 w 92"/>
              <a:gd name="T1" fmla="*/ 0 h 118"/>
              <a:gd name="T2" fmla="*/ 92 w 92"/>
              <a:gd name="T3" fmla="*/ 118 h 118"/>
              <a:gd name="T4" fmla="*/ 0 w 92"/>
              <a:gd name="T5" fmla="*/ 118 h 118"/>
              <a:gd name="T6" fmla="*/ 47 w 92"/>
              <a:gd name="T7" fmla="*/ 0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2" h="118">
                <a:moveTo>
                  <a:pt x="47" y="0"/>
                </a:moveTo>
                <a:lnTo>
                  <a:pt x="92" y="118"/>
                </a:lnTo>
                <a:lnTo>
                  <a:pt x="0" y="118"/>
                </a:lnTo>
                <a:lnTo>
                  <a:pt x="4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4F78E8E3-3EA7-4E42-A9CA-A64D7EB779A2}"/>
              </a:ext>
            </a:extLst>
          </p:cNvPr>
          <p:cNvPicPr>
            <a:picLocks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793" y="3077174"/>
            <a:ext cx="1097280" cy="109728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B0E2FB27-ECBB-479E-A6CF-92087B169E97}"/>
              </a:ext>
            </a:extLst>
          </p:cNvPr>
          <p:cNvSpPr txBox="1"/>
          <p:nvPr userDrawn="1"/>
        </p:nvSpPr>
        <p:spPr>
          <a:xfrm>
            <a:off x="3600450" y="6620967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or Disease Educational Use by Apellis MSLs only</a:t>
            </a:r>
            <a:endParaRPr lang="en-US" sz="800" spc="50" baseline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38584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Cov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1F38C5DE-2E9E-5648-A1AB-44EF7C520F09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2B2B1A-532E-A74C-A004-E0588BDBBE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79471" y="3904488"/>
            <a:ext cx="9395325" cy="1467289"/>
          </a:xfrm>
        </p:spPr>
        <p:txBody>
          <a:bodyPr>
            <a:normAutofit/>
          </a:bodyPr>
          <a:lstStyle>
            <a:lvl1pPr marL="0" indent="0" algn="l">
              <a:buNone/>
              <a:defRPr sz="2200" spc="5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06E01A-7715-0F48-86DA-B6315AFF34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179471" y="5814233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 b="0" spc="50" baseline="0">
                <a:solidFill>
                  <a:schemeClr val="bg2"/>
                </a:solidFill>
              </a:defRPr>
            </a:lvl1pPr>
          </a:lstStyle>
          <a:p>
            <a:r>
              <a:rPr lang="en-US"/>
              <a:t>[Date]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79471" y="969264"/>
            <a:ext cx="9395325" cy="2432304"/>
          </a:xfrm>
        </p:spPr>
        <p:txBody>
          <a:bodyPr anchor="b"/>
          <a:lstStyle>
            <a:lvl1pPr algn="l">
              <a:defRPr sz="3600" b="1" spc="50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C1A58040-D6B6-1D40-B7DE-7EE528BF85A1}"/>
              </a:ext>
            </a:extLst>
          </p:cNvPr>
          <p:cNvCxnSpPr/>
          <p:nvPr userDrawn="1"/>
        </p:nvCxnSpPr>
        <p:spPr>
          <a:xfrm>
            <a:off x="2127616" y="3636345"/>
            <a:ext cx="10058400" cy="0"/>
          </a:xfrm>
          <a:prstGeom prst="line">
            <a:avLst/>
          </a:prstGeom>
          <a:ln w="53975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AutoShape 3">
            <a:extLst>
              <a:ext uri="{FF2B5EF4-FFF2-40B4-BE49-F238E27FC236}">
                <a16:creationId xmlns:a16="http://schemas.microsoft.com/office/drawing/2014/main" id="{78FC047D-B8CD-4638-A231-CE710295D175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477500" y="969963"/>
            <a:ext cx="1096963" cy="1119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0" name="Freeform 7">
            <a:extLst>
              <a:ext uri="{FF2B5EF4-FFF2-40B4-BE49-F238E27FC236}">
                <a16:creationId xmlns:a16="http://schemas.microsoft.com/office/drawing/2014/main" id="{39ACFFD7-B5A5-42C2-86E3-F902462CA5F3}"/>
              </a:ext>
            </a:extLst>
          </p:cNvPr>
          <p:cNvSpPr>
            <a:spLocks/>
          </p:cNvSpPr>
          <p:nvPr userDrawn="1"/>
        </p:nvSpPr>
        <p:spPr bwMode="auto">
          <a:xfrm>
            <a:off x="10599738" y="1095375"/>
            <a:ext cx="855663" cy="871537"/>
          </a:xfrm>
          <a:custGeom>
            <a:avLst/>
            <a:gdLst>
              <a:gd name="T0" fmla="*/ 0 w 1078"/>
              <a:gd name="T1" fmla="*/ 521 h 1098"/>
              <a:gd name="T2" fmla="*/ 9 w 1078"/>
              <a:gd name="T3" fmla="*/ 438 h 1098"/>
              <a:gd name="T4" fmla="*/ 32 w 1078"/>
              <a:gd name="T5" fmla="*/ 361 h 1098"/>
              <a:gd name="T6" fmla="*/ 64 w 1078"/>
              <a:gd name="T7" fmla="*/ 288 h 1098"/>
              <a:gd name="T8" fmla="*/ 106 w 1078"/>
              <a:gd name="T9" fmla="*/ 220 h 1098"/>
              <a:gd name="T10" fmla="*/ 157 w 1078"/>
              <a:gd name="T11" fmla="*/ 162 h 1098"/>
              <a:gd name="T12" fmla="*/ 215 w 1078"/>
              <a:gd name="T13" fmla="*/ 109 h 1098"/>
              <a:gd name="T14" fmla="*/ 281 w 1078"/>
              <a:gd name="T15" fmla="*/ 66 h 1098"/>
              <a:gd name="T16" fmla="*/ 353 w 1078"/>
              <a:gd name="T17" fmla="*/ 34 h 1098"/>
              <a:gd name="T18" fmla="*/ 430 w 1078"/>
              <a:gd name="T19" fmla="*/ 11 h 1098"/>
              <a:gd name="T20" fmla="*/ 510 w 1078"/>
              <a:gd name="T21" fmla="*/ 0 h 1098"/>
              <a:gd name="T22" fmla="*/ 566 w 1078"/>
              <a:gd name="T23" fmla="*/ 0 h 1098"/>
              <a:gd name="T24" fmla="*/ 647 w 1078"/>
              <a:gd name="T25" fmla="*/ 11 h 1098"/>
              <a:gd name="T26" fmla="*/ 723 w 1078"/>
              <a:gd name="T27" fmla="*/ 34 h 1098"/>
              <a:gd name="T28" fmla="*/ 795 w 1078"/>
              <a:gd name="T29" fmla="*/ 66 h 1098"/>
              <a:gd name="T30" fmla="*/ 861 w 1078"/>
              <a:gd name="T31" fmla="*/ 109 h 1098"/>
              <a:gd name="T32" fmla="*/ 919 w 1078"/>
              <a:gd name="T33" fmla="*/ 162 h 1098"/>
              <a:gd name="T34" fmla="*/ 970 w 1078"/>
              <a:gd name="T35" fmla="*/ 220 h 1098"/>
              <a:gd name="T36" fmla="*/ 1012 w 1078"/>
              <a:gd name="T37" fmla="*/ 288 h 1098"/>
              <a:gd name="T38" fmla="*/ 1044 w 1078"/>
              <a:gd name="T39" fmla="*/ 361 h 1098"/>
              <a:gd name="T40" fmla="*/ 1067 w 1078"/>
              <a:gd name="T41" fmla="*/ 438 h 1098"/>
              <a:gd name="T42" fmla="*/ 1076 w 1078"/>
              <a:gd name="T43" fmla="*/ 521 h 1098"/>
              <a:gd name="T44" fmla="*/ 1076 w 1078"/>
              <a:gd name="T45" fmla="*/ 577 h 1098"/>
              <a:gd name="T46" fmla="*/ 1067 w 1078"/>
              <a:gd name="T47" fmla="*/ 660 h 1098"/>
              <a:gd name="T48" fmla="*/ 1044 w 1078"/>
              <a:gd name="T49" fmla="*/ 739 h 1098"/>
              <a:gd name="T50" fmla="*/ 1012 w 1078"/>
              <a:gd name="T51" fmla="*/ 810 h 1098"/>
              <a:gd name="T52" fmla="*/ 970 w 1078"/>
              <a:gd name="T53" fmla="*/ 878 h 1098"/>
              <a:gd name="T54" fmla="*/ 919 w 1078"/>
              <a:gd name="T55" fmla="*/ 938 h 1098"/>
              <a:gd name="T56" fmla="*/ 861 w 1078"/>
              <a:gd name="T57" fmla="*/ 989 h 1098"/>
              <a:gd name="T58" fmla="*/ 795 w 1078"/>
              <a:gd name="T59" fmla="*/ 1032 h 1098"/>
              <a:gd name="T60" fmla="*/ 723 w 1078"/>
              <a:gd name="T61" fmla="*/ 1066 h 1098"/>
              <a:gd name="T62" fmla="*/ 647 w 1078"/>
              <a:gd name="T63" fmla="*/ 1087 h 1098"/>
              <a:gd name="T64" fmla="*/ 566 w 1078"/>
              <a:gd name="T65" fmla="*/ 1098 h 1098"/>
              <a:gd name="T66" fmla="*/ 510 w 1078"/>
              <a:gd name="T67" fmla="*/ 1098 h 1098"/>
              <a:gd name="T68" fmla="*/ 430 w 1078"/>
              <a:gd name="T69" fmla="*/ 1087 h 1098"/>
              <a:gd name="T70" fmla="*/ 353 w 1078"/>
              <a:gd name="T71" fmla="*/ 1066 h 1098"/>
              <a:gd name="T72" fmla="*/ 281 w 1078"/>
              <a:gd name="T73" fmla="*/ 1032 h 1098"/>
              <a:gd name="T74" fmla="*/ 215 w 1078"/>
              <a:gd name="T75" fmla="*/ 989 h 1098"/>
              <a:gd name="T76" fmla="*/ 157 w 1078"/>
              <a:gd name="T77" fmla="*/ 938 h 1098"/>
              <a:gd name="T78" fmla="*/ 106 w 1078"/>
              <a:gd name="T79" fmla="*/ 878 h 1098"/>
              <a:gd name="T80" fmla="*/ 64 w 1078"/>
              <a:gd name="T81" fmla="*/ 810 h 1098"/>
              <a:gd name="T82" fmla="*/ 32 w 1078"/>
              <a:gd name="T83" fmla="*/ 739 h 1098"/>
              <a:gd name="T84" fmla="*/ 9 w 1078"/>
              <a:gd name="T85" fmla="*/ 660 h 1098"/>
              <a:gd name="T86" fmla="*/ 0 w 1078"/>
              <a:gd name="T87" fmla="*/ 577 h 10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078" h="1098">
                <a:moveTo>
                  <a:pt x="0" y="549"/>
                </a:moveTo>
                <a:lnTo>
                  <a:pt x="0" y="549"/>
                </a:lnTo>
                <a:lnTo>
                  <a:pt x="0" y="521"/>
                </a:lnTo>
                <a:lnTo>
                  <a:pt x="2" y="492"/>
                </a:lnTo>
                <a:lnTo>
                  <a:pt x="5" y="466"/>
                </a:lnTo>
                <a:lnTo>
                  <a:pt x="9" y="438"/>
                </a:lnTo>
                <a:lnTo>
                  <a:pt x="17" y="412"/>
                </a:lnTo>
                <a:lnTo>
                  <a:pt x="22" y="385"/>
                </a:lnTo>
                <a:lnTo>
                  <a:pt x="32" y="361"/>
                </a:lnTo>
                <a:lnTo>
                  <a:pt x="41" y="335"/>
                </a:lnTo>
                <a:lnTo>
                  <a:pt x="53" y="312"/>
                </a:lnTo>
                <a:lnTo>
                  <a:pt x="64" y="288"/>
                </a:lnTo>
                <a:lnTo>
                  <a:pt x="77" y="265"/>
                </a:lnTo>
                <a:lnTo>
                  <a:pt x="90" y="242"/>
                </a:lnTo>
                <a:lnTo>
                  <a:pt x="106" y="220"/>
                </a:lnTo>
                <a:lnTo>
                  <a:pt x="123" y="199"/>
                </a:lnTo>
                <a:lnTo>
                  <a:pt x="140" y="180"/>
                </a:lnTo>
                <a:lnTo>
                  <a:pt x="157" y="162"/>
                </a:lnTo>
                <a:lnTo>
                  <a:pt x="175" y="143"/>
                </a:lnTo>
                <a:lnTo>
                  <a:pt x="196" y="126"/>
                </a:lnTo>
                <a:lnTo>
                  <a:pt x="215" y="109"/>
                </a:lnTo>
                <a:lnTo>
                  <a:pt x="238" y="94"/>
                </a:lnTo>
                <a:lnTo>
                  <a:pt x="258" y="79"/>
                </a:lnTo>
                <a:lnTo>
                  <a:pt x="281" y="66"/>
                </a:lnTo>
                <a:lnTo>
                  <a:pt x="304" y="54"/>
                </a:lnTo>
                <a:lnTo>
                  <a:pt x="328" y="43"/>
                </a:lnTo>
                <a:lnTo>
                  <a:pt x="353" y="34"/>
                </a:lnTo>
                <a:lnTo>
                  <a:pt x="377" y="24"/>
                </a:lnTo>
                <a:lnTo>
                  <a:pt x="404" y="17"/>
                </a:lnTo>
                <a:lnTo>
                  <a:pt x="430" y="11"/>
                </a:lnTo>
                <a:lnTo>
                  <a:pt x="457" y="6"/>
                </a:lnTo>
                <a:lnTo>
                  <a:pt x="483" y="4"/>
                </a:lnTo>
                <a:lnTo>
                  <a:pt x="510" y="0"/>
                </a:lnTo>
                <a:lnTo>
                  <a:pt x="538" y="0"/>
                </a:lnTo>
                <a:lnTo>
                  <a:pt x="538" y="0"/>
                </a:lnTo>
                <a:lnTo>
                  <a:pt x="566" y="0"/>
                </a:lnTo>
                <a:lnTo>
                  <a:pt x="593" y="4"/>
                </a:lnTo>
                <a:lnTo>
                  <a:pt x="621" y="6"/>
                </a:lnTo>
                <a:lnTo>
                  <a:pt x="647" y="11"/>
                </a:lnTo>
                <a:lnTo>
                  <a:pt x="674" y="17"/>
                </a:lnTo>
                <a:lnTo>
                  <a:pt x="698" y="24"/>
                </a:lnTo>
                <a:lnTo>
                  <a:pt x="723" y="34"/>
                </a:lnTo>
                <a:lnTo>
                  <a:pt x="747" y="43"/>
                </a:lnTo>
                <a:lnTo>
                  <a:pt x="772" y="54"/>
                </a:lnTo>
                <a:lnTo>
                  <a:pt x="795" y="66"/>
                </a:lnTo>
                <a:lnTo>
                  <a:pt x="817" y="79"/>
                </a:lnTo>
                <a:lnTo>
                  <a:pt x="840" y="94"/>
                </a:lnTo>
                <a:lnTo>
                  <a:pt x="861" y="109"/>
                </a:lnTo>
                <a:lnTo>
                  <a:pt x="882" y="126"/>
                </a:lnTo>
                <a:lnTo>
                  <a:pt x="900" y="143"/>
                </a:lnTo>
                <a:lnTo>
                  <a:pt x="919" y="162"/>
                </a:lnTo>
                <a:lnTo>
                  <a:pt x="938" y="180"/>
                </a:lnTo>
                <a:lnTo>
                  <a:pt x="955" y="199"/>
                </a:lnTo>
                <a:lnTo>
                  <a:pt x="970" y="220"/>
                </a:lnTo>
                <a:lnTo>
                  <a:pt x="985" y="242"/>
                </a:lnTo>
                <a:lnTo>
                  <a:pt x="999" y="265"/>
                </a:lnTo>
                <a:lnTo>
                  <a:pt x="1012" y="288"/>
                </a:lnTo>
                <a:lnTo>
                  <a:pt x="1025" y="312"/>
                </a:lnTo>
                <a:lnTo>
                  <a:pt x="1034" y="335"/>
                </a:lnTo>
                <a:lnTo>
                  <a:pt x="1044" y="361"/>
                </a:lnTo>
                <a:lnTo>
                  <a:pt x="1053" y="385"/>
                </a:lnTo>
                <a:lnTo>
                  <a:pt x="1061" y="412"/>
                </a:lnTo>
                <a:lnTo>
                  <a:pt x="1067" y="438"/>
                </a:lnTo>
                <a:lnTo>
                  <a:pt x="1070" y="466"/>
                </a:lnTo>
                <a:lnTo>
                  <a:pt x="1074" y="492"/>
                </a:lnTo>
                <a:lnTo>
                  <a:pt x="1076" y="521"/>
                </a:lnTo>
                <a:lnTo>
                  <a:pt x="1078" y="549"/>
                </a:lnTo>
                <a:lnTo>
                  <a:pt x="1078" y="549"/>
                </a:lnTo>
                <a:lnTo>
                  <a:pt x="1076" y="577"/>
                </a:lnTo>
                <a:lnTo>
                  <a:pt x="1074" y="605"/>
                </a:lnTo>
                <a:lnTo>
                  <a:pt x="1070" y="633"/>
                </a:lnTo>
                <a:lnTo>
                  <a:pt x="1067" y="660"/>
                </a:lnTo>
                <a:lnTo>
                  <a:pt x="1061" y="686"/>
                </a:lnTo>
                <a:lnTo>
                  <a:pt x="1053" y="712"/>
                </a:lnTo>
                <a:lnTo>
                  <a:pt x="1044" y="739"/>
                </a:lnTo>
                <a:lnTo>
                  <a:pt x="1034" y="763"/>
                </a:lnTo>
                <a:lnTo>
                  <a:pt x="1025" y="788"/>
                </a:lnTo>
                <a:lnTo>
                  <a:pt x="1012" y="810"/>
                </a:lnTo>
                <a:lnTo>
                  <a:pt x="999" y="835"/>
                </a:lnTo>
                <a:lnTo>
                  <a:pt x="985" y="857"/>
                </a:lnTo>
                <a:lnTo>
                  <a:pt x="970" y="878"/>
                </a:lnTo>
                <a:lnTo>
                  <a:pt x="955" y="899"/>
                </a:lnTo>
                <a:lnTo>
                  <a:pt x="938" y="919"/>
                </a:lnTo>
                <a:lnTo>
                  <a:pt x="919" y="938"/>
                </a:lnTo>
                <a:lnTo>
                  <a:pt x="900" y="955"/>
                </a:lnTo>
                <a:lnTo>
                  <a:pt x="882" y="974"/>
                </a:lnTo>
                <a:lnTo>
                  <a:pt x="861" y="989"/>
                </a:lnTo>
                <a:lnTo>
                  <a:pt x="840" y="1004"/>
                </a:lnTo>
                <a:lnTo>
                  <a:pt x="817" y="1019"/>
                </a:lnTo>
                <a:lnTo>
                  <a:pt x="795" y="1032"/>
                </a:lnTo>
                <a:lnTo>
                  <a:pt x="772" y="1045"/>
                </a:lnTo>
                <a:lnTo>
                  <a:pt x="747" y="1055"/>
                </a:lnTo>
                <a:lnTo>
                  <a:pt x="723" y="1066"/>
                </a:lnTo>
                <a:lnTo>
                  <a:pt x="698" y="1073"/>
                </a:lnTo>
                <a:lnTo>
                  <a:pt x="674" y="1081"/>
                </a:lnTo>
                <a:lnTo>
                  <a:pt x="647" y="1087"/>
                </a:lnTo>
                <a:lnTo>
                  <a:pt x="621" y="1092"/>
                </a:lnTo>
                <a:lnTo>
                  <a:pt x="593" y="1096"/>
                </a:lnTo>
                <a:lnTo>
                  <a:pt x="566" y="1098"/>
                </a:lnTo>
                <a:lnTo>
                  <a:pt x="538" y="1098"/>
                </a:lnTo>
                <a:lnTo>
                  <a:pt x="538" y="1098"/>
                </a:lnTo>
                <a:lnTo>
                  <a:pt x="510" y="1098"/>
                </a:lnTo>
                <a:lnTo>
                  <a:pt x="483" y="1096"/>
                </a:lnTo>
                <a:lnTo>
                  <a:pt x="457" y="1092"/>
                </a:lnTo>
                <a:lnTo>
                  <a:pt x="430" y="1087"/>
                </a:lnTo>
                <a:lnTo>
                  <a:pt x="404" y="1081"/>
                </a:lnTo>
                <a:lnTo>
                  <a:pt x="377" y="1073"/>
                </a:lnTo>
                <a:lnTo>
                  <a:pt x="353" y="1066"/>
                </a:lnTo>
                <a:lnTo>
                  <a:pt x="328" y="1055"/>
                </a:lnTo>
                <a:lnTo>
                  <a:pt x="304" y="1045"/>
                </a:lnTo>
                <a:lnTo>
                  <a:pt x="281" y="1032"/>
                </a:lnTo>
                <a:lnTo>
                  <a:pt x="258" y="1019"/>
                </a:lnTo>
                <a:lnTo>
                  <a:pt x="238" y="1004"/>
                </a:lnTo>
                <a:lnTo>
                  <a:pt x="215" y="989"/>
                </a:lnTo>
                <a:lnTo>
                  <a:pt x="196" y="974"/>
                </a:lnTo>
                <a:lnTo>
                  <a:pt x="175" y="955"/>
                </a:lnTo>
                <a:lnTo>
                  <a:pt x="157" y="938"/>
                </a:lnTo>
                <a:lnTo>
                  <a:pt x="140" y="919"/>
                </a:lnTo>
                <a:lnTo>
                  <a:pt x="123" y="899"/>
                </a:lnTo>
                <a:lnTo>
                  <a:pt x="106" y="878"/>
                </a:lnTo>
                <a:lnTo>
                  <a:pt x="90" y="857"/>
                </a:lnTo>
                <a:lnTo>
                  <a:pt x="77" y="835"/>
                </a:lnTo>
                <a:lnTo>
                  <a:pt x="64" y="810"/>
                </a:lnTo>
                <a:lnTo>
                  <a:pt x="53" y="788"/>
                </a:lnTo>
                <a:lnTo>
                  <a:pt x="41" y="763"/>
                </a:lnTo>
                <a:lnTo>
                  <a:pt x="32" y="739"/>
                </a:lnTo>
                <a:lnTo>
                  <a:pt x="22" y="712"/>
                </a:lnTo>
                <a:lnTo>
                  <a:pt x="17" y="686"/>
                </a:lnTo>
                <a:lnTo>
                  <a:pt x="9" y="660"/>
                </a:lnTo>
                <a:lnTo>
                  <a:pt x="5" y="633"/>
                </a:lnTo>
                <a:lnTo>
                  <a:pt x="2" y="605"/>
                </a:lnTo>
                <a:lnTo>
                  <a:pt x="0" y="577"/>
                </a:lnTo>
                <a:lnTo>
                  <a:pt x="0" y="549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2" name="Freeform 9">
            <a:extLst>
              <a:ext uri="{FF2B5EF4-FFF2-40B4-BE49-F238E27FC236}">
                <a16:creationId xmlns:a16="http://schemas.microsoft.com/office/drawing/2014/main" id="{185EACAD-94F3-4E59-B39D-60DF4F6C1DDC}"/>
              </a:ext>
            </a:extLst>
          </p:cNvPr>
          <p:cNvSpPr>
            <a:spLocks/>
          </p:cNvSpPr>
          <p:nvPr userDrawn="1"/>
        </p:nvSpPr>
        <p:spPr bwMode="auto">
          <a:xfrm>
            <a:off x="11253788" y="1498600"/>
            <a:ext cx="87313" cy="122237"/>
          </a:xfrm>
          <a:custGeom>
            <a:avLst/>
            <a:gdLst>
              <a:gd name="T0" fmla="*/ 0 w 109"/>
              <a:gd name="T1" fmla="*/ 131 h 154"/>
              <a:gd name="T2" fmla="*/ 25 w 109"/>
              <a:gd name="T3" fmla="*/ 148 h 154"/>
              <a:gd name="T4" fmla="*/ 57 w 109"/>
              <a:gd name="T5" fmla="*/ 154 h 154"/>
              <a:gd name="T6" fmla="*/ 68 w 109"/>
              <a:gd name="T7" fmla="*/ 152 h 154"/>
              <a:gd name="T8" fmla="*/ 89 w 109"/>
              <a:gd name="T9" fmla="*/ 146 h 154"/>
              <a:gd name="T10" fmla="*/ 102 w 109"/>
              <a:gd name="T11" fmla="*/ 135 h 154"/>
              <a:gd name="T12" fmla="*/ 109 w 109"/>
              <a:gd name="T13" fmla="*/ 118 h 154"/>
              <a:gd name="T14" fmla="*/ 109 w 109"/>
              <a:gd name="T15" fmla="*/ 110 h 154"/>
              <a:gd name="T16" fmla="*/ 106 w 109"/>
              <a:gd name="T17" fmla="*/ 92 h 154"/>
              <a:gd name="T18" fmla="*/ 96 w 109"/>
              <a:gd name="T19" fmla="*/ 80 h 154"/>
              <a:gd name="T20" fmla="*/ 81 w 109"/>
              <a:gd name="T21" fmla="*/ 73 h 154"/>
              <a:gd name="T22" fmla="*/ 47 w 109"/>
              <a:gd name="T23" fmla="*/ 63 h 154"/>
              <a:gd name="T24" fmla="*/ 28 w 109"/>
              <a:gd name="T25" fmla="*/ 54 h 154"/>
              <a:gd name="T26" fmla="*/ 21 w 109"/>
              <a:gd name="T27" fmla="*/ 47 h 154"/>
              <a:gd name="T28" fmla="*/ 19 w 109"/>
              <a:gd name="T29" fmla="*/ 39 h 154"/>
              <a:gd name="T30" fmla="*/ 23 w 109"/>
              <a:gd name="T31" fmla="*/ 30 h 154"/>
              <a:gd name="T32" fmla="*/ 28 w 109"/>
              <a:gd name="T33" fmla="*/ 20 h 154"/>
              <a:gd name="T34" fmla="*/ 40 w 109"/>
              <a:gd name="T35" fmla="*/ 15 h 154"/>
              <a:gd name="T36" fmla="*/ 55 w 109"/>
              <a:gd name="T37" fmla="*/ 13 h 154"/>
              <a:gd name="T38" fmla="*/ 81 w 109"/>
              <a:gd name="T39" fmla="*/ 18 h 154"/>
              <a:gd name="T40" fmla="*/ 98 w 109"/>
              <a:gd name="T41" fmla="*/ 31 h 154"/>
              <a:gd name="T42" fmla="*/ 108 w 109"/>
              <a:gd name="T43" fmla="*/ 20 h 154"/>
              <a:gd name="T44" fmla="*/ 87 w 109"/>
              <a:gd name="T45" fmla="*/ 5 h 154"/>
              <a:gd name="T46" fmla="*/ 55 w 109"/>
              <a:gd name="T47" fmla="*/ 0 h 154"/>
              <a:gd name="T48" fmla="*/ 43 w 109"/>
              <a:gd name="T49" fmla="*/ 0 h 154"/>
              <a:gd name="T50" fmla="*/ 25 w 109"/>
              <a:gd name="T51" fmla="*/ 7 h 154"/>
              <a:gd name="T52" fmla="*/ 11 w 109"/>
              <a:gd name="T53" fmla="*/ 18 h 154"/>
              <a:gd name="T54" fmla="*/ 6 w 109"/>
              <a:gd name="T55" fmla="*/ 31 h 154"/>
              <a:gd name="T56" fmla="*/ 4 w 109"/>
              <a:gd name="T57" fmla="*/ 41 h 154"/>
              <a:gd name="T58" fmla="*/ 8 w 109"/>
              <a:gd name="T59" fmla="*/ 56 h 154"/>
              <a:gd name="T60" fmla="*/ 19 w 109"/>
              <a:gd name="T61" fmla="*/ 67 h 154"/>
              <a:gd name="T62" fmla="*/ 49 w 109"/>
              <a:gd name="T63" fmla="*/ 80 h 154"/>
              <a:gd name="T64" fmla="*/ 81 w 109"/>
              <a:gd name="T65" fmla="*/ 90 h 154"/>
              <a:gd name="T66" fmla="*/ 91 w 109"/>
              <a:gd name="T67" fmla="*/ 97 h 154"/>
              <a:gd name="T68" fmla="*/ 94 w 109"/>
              <a:gd name="T69" fmla="*/ 110 h 154"/>
              <a:gd name="T70" fmla="*/ 94 w 109"/>
              <a:gd name="T71" fmla="*/ 116 h 154"/>
              <a:gd name="T72" fmla="*/ 89 w 109"/>
              <a:gd name="T73" fmla="*/ 127 h 154"/>
              <a:gd name="T74" fmla="*/ 79 w 109"/>
              <a:gd name="T75" fmla="*/ 135 h 154"/>
              <a:gd name="T76" fmla="*/ 64 w 109"/>
              <a:gd name="T77" fmla="*/ 139 h 154"/>
              <a:gd name="T78" fmla="*/ 57 w 109"/>
              <a:gd name="T79" fmla="*/ 141 h 154"/>
              <a:gd name="T80" fmla="*/ 28 w 109"/>
              <a:gd name="T81" fmla="*/ 133 h 154"/>
              <a:gd name="T82" fmla="*/ 9 w 109"/>
              <a:gd name="T83" fmla="*/ 118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09" h="154">
                <a:moveTo>
                  <a:pt x="0" y="131"/>
                </a:moveTo>
                <a:lnTo>
                  <a:pt x="0" y="131"/>
                </a:lnTo>
                <a:lnTo>
                  <a:pt x="13" y="141"/>
                </a:lnTo>
                <a:lnTo>
                  <a:pt x="25" y="148"/>
                </a:lnTo>
                <a:lnTo>
                  <a:pt x="40" y="152"/>
                </a:lnTo>
                <a:lnTo>
                  <a:pt x="57" y="154"/>
                </a:lnTo>
                <a:lnTo>
                  <a:pt x="57" y="154"/>
                </a:lnTo>
                <a:lnTo>
                  <a:pt x="68" y="152"/>
                </a:lnTo>
                <a:lnTo>
                  <a:pt x="79" y="150"/>
                </a:lnTo>
                <a:lnTo>
                  <a:pt x="89" y="146"/>
                </a:lnTo>
                <a:lnTo>
                  <a:pt x="96" y="141"/>
                </a:lnTo>
                <a:lnTo>
                  <a:pt x="102" y="135"/>
                </a:lnTo>
                <a:lnTo>
                  <a:pt x="106" y="127"/>
                </a:lnTo>
                <a:lnTo>
                  <a:pt x="109" y="118"/>
                </a:lnTo>
                <a:lnTo>
                  <a:pt x="109" y="110"/>
                </a:lnTo>
                <a:lnTo>
                  <a:pt x="109" y="110"/>
                </a:lnTo>
                <a:lnTo>
                  <a:pt x="109" y="101"/>
                </a:lnTo>
                <a:lnTo>
                  <a:pt x="106" y="92"/>
                </a:lnTo>
                <a:lnTo>
                  <a:pt x="102" y="86"/>
                </a:lnTo>
                <a:lnTo>
                  <a:pt x="96" y="80"/>
                </a:lnTo>
                <a:lnTo>
                  <a:pt x="89" y="77"/>
                </a:lnTo>
                <a:lnTo>
                  <a:pt x="81" y="73"/>
                </a:lnTo>
                <a:lnTo>
                  <a:pt x="64" y="67"/>
                </a:lnTo>
                <a:lnTo>
                  <a:pt x="47" y="63"/>
                </a:lnTo>
                <a:lnTo>
                  <a:pt x="34" y="58"/>
                </a:lnTo>
                <a:lnTo>
                  <a:pt x="28" y="54"/>
                </a:lnTo>
                <a:lnTo>
                  <a:pt x="23" y="50"/>
                </a:lnTo>
                <a:lnTo>
                  <a:pt x="21" y="47"/>
                </a:lnTo>
                <a:lnTo>
                  <a:pt x="19" y="39"/>
                </a:lnTo>
                <a:lnTo>
                  <a:pt x="19" y="39"/>
                </a:lnTo>
                <a:lnTo>
                  <a:pt x="21" y="33"/>
                </a:lnTo>
                <a:lnTo>
                  <a:pt x="23" y="30"/>
                </a:lnTo>
                <a:lnTo>
                  <a:pt x="25" y="24"/>
                </a:lnTo>
                <a:lnTo>
                  <a:pt x="28" y="20"/>
                </a:lnTo>
                <a:lnTo>
                  <a:pt x="34" y="18"/>
                </a:lnTo>
                <a:lnTo>
                  <a:pt x="40" y="15"/>
                </a:lnTo>
                <a:lnTo>
                  <a:pt x="55" y="13"/>
                </a:lnTo>
                <a:lnTo>
                  <a:pt x="55" y="13"/>
                </a:lnTo>
                <a:lnTo>
                  <a:pt x="68" y="15"/>
                </a:lnTo>
                <a:lnTo>
                  <a:pt x="81" y="18"/>
                </a:lnTo>
                <a:lnTo>
                  <a:pt x="91" y="24"/>
                </a:lnTo>
                <a:lnTo>
                  <a:pt x="98" y="31"/>
                </a:lnTo>
                <a:lnTo>
                  <a:pt x="108" y="20"/>
                </a:lnTo>
                <a:lnTo>
                  <a:pt x="108" y="20"/>
                </a:lnTo>
                <a:lnTo>
                  <a:pt x="98" y="13"/>
                </a:lnTo>
                <a:lnTo>
                  <a:pt x="87" y="5"/>
                </a:lnTo>
                <a:lnTo>
                  <a:pt x="72" y="1"/>
                </a:lnTo>
                <a:lnTo>
                  <a:pt x="55" y="0"/>
                </a:lnTo>
                <a:lnTo>
                  <a:pt x="55" y="0"/>
                </a:lnTo>
                <a:lnTo>
                  <a:pt x="43" y="0"/>
                </a:lnTo>
                <a:lnTo>
                  <a:pt x="34" y="3"/>
                </a:lnTo>
                <a:lnTo>
                  <a:pt x="25" y="7"/>
                </a:lnTo>
                <a:lnTo>
                  <a:pt x="17" y="11"/>
                </a:lnTo>
                <a:lnTo>
                  <a:pt x="11" y="18"/>
                </a:lnTo>
                <a:lnTo>
                  <a:pt x="8" y="24"/>
                </a:lnTo>
                <a:lnTo>
                  <a:pt x="6" y="31"/>
                </a:lnTo>
                <a:lnTo>
                  <a:pt x="4" y="41"/>
                </a:lnTo>
                <a:lnTo>
                  <a:pt x="4" y="41"/>
                </a:lnTo>
                <a:lnTo>
                  <a:pt x="6" y="48"/>
                </a:lnTo>
                <a:lnTo>
                  <a:pt x="8" y="56"/>
                </a:lnTo>
                <a:lnTo>
                  <a:pt x="13" y="63"/>
                </a:lnTo>
                <a:lnTo>
                  <a:pt x="19" y="67"/>
                </a:lnTo>
                <a:lnTo>
                  <a:pt x="32" y="75"/>
                </a:lnTo>
                <a:lnTo>
                  <a:pt x="49" y="80"/>
                </a:lnTo>
                <a:lnTo>
                  <a:pt x="66" y="84"/>
                </a:lnTo>
                <a:lnTo>
                  <a:pt x="81" y="90"/>
                </a:lnTo>
                <a:lnTo>
                  <a:pt x="87" y="94"/>
                </a:lnTo>
                <a:lnTo>
                  <a:pt x="91" y="97"/>
                </a:lnTo>
                <a:lnTo>
                  <a:pt x="94" y="103"/>
                </a:lnTo>
                <a:lnTo>
                  <a:pt x="94" y="110"/>
                </a:lnTo>
                <a:lnTo>
                  <a:pt x="94" y="110"/>
                </a:lnTo>
                <a:lnTo>
                  <a:pt x="94" y="116"/>
                </a:lnTo>
                <a:lnTo>
                  <a:pt x="92" y="122"/>
                </a:lnTo>
                <a:lnTo>
                  <a:pt x="89" y="127"/>
                </a:lnTo>
                <a:lnTo>
                  <a:pt x="85" y="131"/>
                </a:lnTo>
                <a:lnTo>
                  <a:pt x="79" y="135"/>
                </a:lnTo>
                <a:lnTo>
                  <a:pt x="72" y="137"/>
                </a:lnTo>
                <a:lnTo>
                  <a:pt x="64" y="139"/>
                </a:lnTo>
                <a:lnTo>
                  <a:pt x="57" y="141"/>
                </a:lnTo>
                <a:lnTo>
                  <a:pt x="57" y="141"/>
                </a:lnTo>
                <a:lnTo>
                  <a:pt x="42" y="139"/>
                </a:lnTo>
                <a:lnTo>
                  <a:pt x="28" y="133"/>
                </a:lnTo>
                <a:lnTo>
                  <a:pt x="19" y="127"/>
                </a:lnTo>
                <a:lnTo>
                  <a:pt x="9" y="118"/>
                </a:lnTo>
                <a:lnTo>
                  <a:pt x="0" y="131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3" name="Rectangle 10">
            <a:extLst>
              <a:ext uri="{FF2B5EF4-FFF2-40B4-BE49-F238E27FC236}">
                <a16:creationId xmlns:a16="http://schemas.microsoft.com/office/drawing/2014/main" id="{3F609113-157D-4ADB-A855-89BE38BC6BC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1223625" y="1501775"/>
            <a:ext cx="12700" cy="115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4" name="Freeform 11">
            <a:extLst>
              <a:ext uri="{FF2B5EF4-FFF2-40B4-BE49-F238E27FC236}">
                <a16:creationId xmlns:a16="http://schemas.microsoft.com/office/drawing/2014/main" id="{65560BD8-A9F7-4C8E-B9A6-5FBEE6F440BE}"/>
              </a:ext>
            </a:extLst>
          </p:cNvPr>
          <p:cNvSpPr>
            <a:spLocks/>
          </p:cNvSpPr>
          <p:nvPr userDrawn="1"/>
        </p:nvSpPr>
        <p:spPr bwMode="auto">
          <a:xfrm>
            <a:off x="11166475" y="1455738"/>
            <a:ext cx="42863" cy="165100"/>
          </a:xfrm>
          <a:custGeom>
            <a:avLst/>
            <a:gdLst>
              <a:gd name="T0" fmla="*/ 0 w 53"/>
              <a:gd name="T1" fmla="*/ 175 h 207"/>
              <a:gd name="T2" fmla="*/ 0 w 53"/>
              <a:gd name="T3" fmla="*/ 175 h 207"/>
              <a:gd name="T4" fmla="*/ 2 w 53"/>
              <a:gd name="T5" fmla="*/ 188 h 207"/>
              <a:gd name="T6" fmla="*/ 4 w 53"/>
              <a:gd name="T7" fmla="*/ 194 h 207"/>
              <a:gd name="T8" fmla="*/ 8 w 53"/>
              <a:gd name="T9" fmla="*/ 197 h 207"/>
              <a:gd name="T10" fmla="*/ 12 w 53"/>
              <a:gd name="T11" fmla="*/ 201 h 207"/>
              <a:gd name="T12" fmla="*/ 17 w 53"/>
              <a:gd name="T13" fmla="*/ 205 h 207"/>
              <a:gd name="T14" fmla="*/ 23 w 53"/>
              <a:gd name="T15" fmla="*/ 205 h 207"/>
              <a:gd name="T16" fmla="*/ 29 w 53"/>
              <a:gd name="T17" fmla="*/ 207 h 207"/>
              <a:gd name="T18" fmla="*/ 29 w 53"/>
              <a:gd name="T19" fmla="*/ 207 h 207"/>
              <a:gd name="T20" fmla="*/ 38 w 53"/>
              <a:gd name="T21" fmla="*/ 205 h 207"/>
              <a:gd name="T22" fmla="*/ 44 w 53"/>
              <a:gd name="T23" fmla="*/ 203 h 207"/>
              <a:gd name="T24" fmla="*/ 50 w 53"/>
              <a:gd name="T25" fmla="*/ 201 h 207"/>
              <a:gd name="T26" fmla="*/ 53 w 53"/>
              <a:gd name="T27" fmla="*/ 197 h 207"/>
              <a:gd name="T28" fmla="*/ 48 w 53"/>
              <a:gd name="T29" fmla="*/ 184 h 207"/>
              <a:gd name="T30" fmla="*/ 48 w 53"/>
              <a:gd name="T31" fmla="*/ 184 h 207"/>
              <a:gd name="T32" fmla="*/ 40 w 53"/>
              <a:gd name="T33" fmla="*/ 190 h 207"/>
              <a:gd name="T34" fmla="*/ 36 w 53"/>
              <a:gd name="T35" fmla="*/ 192 h 207"/>
              <a:gd name="T36" fmla="*/ 31 w 53"/>
              <a:gd name="T37" fmla="*/ 192 h 207"/>
              <a:gd name="T38" fmla="*/ 31 w 53"/>
              <a:gd name="T39" fmla="*/ 192 h 207"/>
              <a:gd name="T40" fmla="*/ 25 w 53"/>
              <a:gd name="T41" fmla="*/ 190 h 207"/>
              <a:gd name="T42" fmla="*/ 21 w 53"/>
              <a:gd name="T43" fmla="*/ 186 h 207"/>
              <a:gd name="T44" fmla="*/ 17 w 53"/>
              <a:gd name="T45" fmla="*/ 180 h 207"/>
              <a:gd name="T46" fmla="*/ 17 w 53"/>
              <a:gd name="T47" fmla="*/ 173 h 207"/>
              <a:gd name="T48" fmla="*/ 17 w 53"/>
              <a:gd name="T49" fmla="*/ 0 h 207"/>
              <a:gd name="T50" fmla="*/ 0 w 53"/>
              <a:gd name="T51" fmla="*/ 0 h 207"/>
              <a:gd name="T52" fmla="*/ 0 w 53"/>
              <a:gd name="T53" fmla="*/ 175 h 2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3" h="207">
                <a:moveTo>
                  <a:pt x="0" y="175"/>
                </a:moveTo>
                <a:lnTo>
                  <a:pt x="0" y="175"/>
                </a:lnTo>
                <a:lnTo>
                  <a:pt x="2" y="188"/>
                </a:lnTo>
                <a:lnTo>
                  <a:pt x="4" y="194"/>
                </a:lnTo>
                <a:lnTo>
                  <a:pt x="8" y="197"/>
                </a:lnTo>
                <a:lnTo>
                  <a:pt x="12" y="201"/>
                </a:lnTo>
                <a:lnTo>
                  <a:pt x="17" y="205"/>
                </a:lnTo>
                <a:lnTo>
                  <a:pt x="23" y="205"/>
                </a:lnTo>
                <a:lnTo>
                  <a:pt x="29" y="207"/>
                </a:lnTo>
                <a:lnTo>
                  <a:pt x="29" y="207"/>
                </a:lnTo>
                <a:lnTo>
                  <a:pt x="38" y="205"/>
                </a:lnTo>
                <a:lnTo>
                  <a:pt x="44" y="203"/>
                </a:lnTo>
                <a:lnTo>
                  <a:pt x="50" y="201"/>
                </a:lnTo>
                <a:lnTo>
                  <a:pt x="53" y="197"/>
                </a:lnTo>
                <a:lnTo>
                  <a:pt x="48" y="184"/>
                </a:lnTo>
                <a:lnTo>
                  <a:pt x="48" y="184"/>
                </a:lnTo>
                <a:lnTo>
                  <a:pt x="40" y="190"/>
                </a:lnTo>
                <a:lnTo>
                  <a:pt x="36" y="192"/>
                </a:lnTo>
                <a:lnTo>
                  <a:pt x="31" y="192"/>
                </a:lnTo>
                <a:lnTo>
                  <a:pt x="31" y="192"/>
                </a:lnTo>
                <a:lnTo>
                  <a:pt x="25" y="190"/>
                </a:lnTo>
                <a:lnTo>
                  <a:pt x="21" y="186"/>
                </a:lnTo>
                <a:lnTo>
                  <a:pt x="17" y="180"/>
                </a:lnTo>
                <a:lnTo>
                  <a:pt x="17" y="173"/>
                </a:lnTo>
                <a:lnTo>
                  <a:pt x="17" y="0"/>
                </a:lnTo>
                <a:lnTo>
                  <a:pt x="0" y="0"/>
                </a:lnTo>
                <a:lnTo>
                  <a:pt x="0" y="17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5" name="Freeform 12">
            <a:extLst>
              <a:ext uri="{FF2B5EF4-FFF2-40B4-BE49-F238E27FC236}">
                <a16:creationId xmlns:a16="http://schemas.microsoft.com/office/drawing/2014/main" id="{66F23ECB-318E-4BD6-B680-5BC0BA9D435E}"/>
              </a:ext>
            </a:extLst>
          </p:cNvPr>
          <p:cNvSpPr>
            <a:spLocks/>
          </p:cNvSpPr>
          <p:nvPr userDrawn="1"/>
        </p:nvSpPr>
        <p:spPr bwMode="auto">
          <a:xfrm>
            <a:off x="11112500" y="1455738"/>
            <a:ext cx="42863" cy="165100"/>
          </a:xfrm>
          <a:custGeom>
            <a:avLst/>
            <a:gdLst>
              <a:gd name="T0" fmla="*/ 0 w 52"/>
              <a:gd name="T1" fmla="*/ 175 h 207"/>
              <a:gd name="T2" fmla="*/ 0 w 52"/>
              <a:gd name="T3" fmla="*/ 175 h 207"/>
              <a:gd name="T4" fmla="*/ 1 w 52"/>
              <a:gd name="T5" fmla="*/ 188 h 207"/>
              <a:gd name="T6" fmla="*/ 3 w 52"/>
              <a:gd name="T7" fmla="*/ 194 h 207"/>
              <a:gd name="T8" fmla="*/ 7 w 52"/>
              <a:gd name="T9" fmla="*/ 197 h 207"/>
              <a:gd name="T10" fmla="*/ 11 w 52"/>
              <a:gd name="T11" fmla="*/ 201 h 207"/>
              <a:gd name="T12" fmla="*/ 15 w 52"/>
              <a:gd name="T13" fmla="*/ 205 h 207"/>
              <a:gd name="T14" fmla="*/ 20 w 52"/>
              <a:gd name="T15" fmla="*/ 205 h 207"/>
              <a:gd name="T16" fmla="*/ 28 w 52"/>
              <a:gd name="T17" fmla="*/ 207 h 207"/>
              <a:gd name="T18" fmla="*/ 28 w 52"/>
              <a:gd name="T19" fmla="*/ 207 h 207"/>
              <a:gd name="T20" fmla="*/ 35 w 52"/>
              <a:gd name="T21" fmla="*/ 205 h 207"/>
              <a:gd name="T22" fmla="*/ 41 w 52"/>
              <a:gd name="T23" fmla="*/ 203 h 207"/>
              <a:gd name="T24" fmla="*/ 47 w 52"/>
              <a:gd name="T25" fmla="*/ 201 h 207"/>
              <a:gd name="T26" fmla="*/ 52 w 52"/>
              <a:gd name="T27" fmla="*/ 197 h 207"/>
              <a:gd name="T28" fmla="*/ 45 w 52"/>
              <a:gd name="T29" fmla="*/ 184 h 207"/>
              <a:gd name="T30" fmla="*/ 45 w 52"/>
              <a:gd name="T31" fmla="*/ 184 h 207"/>
              <a:gd name="T32" fmla="*/ 39 w 52"/>
              <a:gd name="T33" fmla="*/ 190 h 207"/>
              <a:gd name="T34" fmla="*/ 35 w 52"/>
              <a:gd name="T35" fmla="*/ 192 h 207"/>
              <a:gd name="T36" fmla="*/ 30 w 52"/>
              <a:gd name="T37" fmla="*/ 192 h 207"/>
              <a:gd name="T38" fmla="*/ 30 w 52"/>
              <a:gd name="T39" fmla="*/ 192 h 207"/>
              <a:gd name="T40" fmla="*/ 22 w 52"/>
              <a:gd name="T41" fmla="*/ 190 h 207"/>
              <a:gd name="T42" fmla="*/ 18 w 52"/>
              <a:gd name="T43" fmla="*/ 186 h 207"/>
              <a:gd name="T44" fmla="*/ 16 w 52"/>
              <a:gd name="T45" fmla="*/ 180 h 207"/>
              <a:gd name="T46" fmla="*/ 15 w 52"/>
              <a:gd name="T47" fmla="*/ 173 h 207"/>
              <a:gd name="T48" fmla="*/ 15 w 52"/>
              <a:gd name="T49" fmla="*/ 0 h 207"/>
              <a:gd name="T50" fmla="*/ 0 w 52"/>
              <a:gd name="T51" fmla="*/ 0 h 207"/>
              <a:gd name="T52" fmla="*/ 0 w 52"/>
              <a:gd name="T53" fmla="*/ 175 h 2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52" h="207">
                <a:moveTo>
                  <a:pt x="0" y="175"/>
                </a:moveTo>
                <a:lnTo>
                  <a:pt x="0" y="175"/>
                </a:lnTo>
                <a:lnTo>
                  <a:pt x="1" y="188"/>
                </a:lnTo>
                <a:lnTo>
                  <a:pt x="3" y="194"/>
                </a:lnTo>
                <a:lnTo>
                  <a:pt x="7" y="197"/>
                </a:lnTo>
                <a:lnTo>
                  <a:pt x="11" y="201"/>
                </a:lnTo>
                <a:lnTo>
                  <a:pt x="15" y="205"/>
                </a:lnTo>
                <a:lnTo>
                  <a:pt x="20" y="205"/>
                </a:lnTo>
                <a:lnTo>
                  <a:pt x="28" y="207"/>
                </a:lnTo>
                <a:lnTo>
                  <a:pt x="28" y="207"/>
                </a:lnTo>
                <a:lnTo>
                  <a:pt x="35" y="205"/>
                </a:lnTo>
                <a:lnTo>
                  <a:pt x="41" y="203"/>
                </a:lnTo>
                <a:lnTo>
                  <a:pt x="47" y="201"/>
                </a:lnTo>
                <a:lnTo>
                  <a:pt x="52" y="197"/>
                </a:lnTo>
                <a:lnTo>
                  <a:pt x="45" y="184"/>
                </a:lnTo>
                <a:lnTo>
                  <a:pt x="45" y="184"/>
                </a:lnTo>
                <a:lnTo>
                  <a:pt x="39" y="190"/>
                </a:lnTo>
                <a:lnTo>
                  <a:pt x="35" y="192"/>
                </a:lnTo>
                <a:lnTo>
                  <a:pt x="30" y="192"/>
                </a:lnTo>
                <a:lnTo>
                  <a:pt x="30" y="192"/>
                </a:lnTo>
                <a:lnTo>
                  <a:pt x="22" y="190"/>
                </a:lnTo>
                <a:lnTo>
                  <a:pt x="18" y="186"/>
                </a:lnTo>
                <a:lnTo>
                  <a:pt x="16" y="180"/>
                </a:lnTo>
                <a:lnTo>
                  <a:pt x="15" y="173"/>
                </a:lnTo>
                <a:lnTo>
                  <a:pt x="15" y="0"/>
                </a:lnTo>
                <a:lnTo>
                  <a:pt x="0" y="0"/>
                </a:lnTo>
                <a:lnTo>
                  <a:pt x="0" y="17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6" name="Freeform 13">
            <a:extLst>
              <a:ext uri="{FF2B5EF4-FFF2-40B4-BE49-F238E27FC236}">
                <a16:creationId xmlns:a16="http://schemas.microsoft.com/office/drawing/2014/main" id="{E5A48534-D8EB-45B9-85EA-14864BBA35DB}"/>
              </a:ext>
            </a:extLst>
          </p:cNvPr>
          <p:cNvSpPr>
            <a:spLocks/>
          </p:cNvSpPr>
          <p:nvPr userDrawn="1"/>
        </p:nvSpPr>
        <p:spPr bwMode="auto">
          <a:xfrm>
            <a:off x="10995025" y="1508125"/>
            <a:ext cx="84138" cy="46037"/>
          </a:xfrm>
          <a:custGeom>
            <a:avLst/>
            <a:gdLst>
              <a:gd name="T0" fmla="*/ 53 w 106"/>
              <a:gd name="T1" fmla="*/ 0 h 56"/>
              <a:gd name="T2" fmla="*/ 53 w 106"/>
              <a:gd name="T3" fmla="*/ 0 h 56"/>
              <a:gd name="T4" fmla="*/ 42 w 106"/>
              <a:gd name="T5" fmla="*/ 2 h 56"/>
              <a:gd name="T6" fmla="*/ 31 w 106"/>
              <a:gd name="T7" fmla="*/ 5 h 56"/>
              <a:gd name="T8" fmla="*/ 23 w 106"/>
              <a:gd name="T9" fmla="*/ 11 h 56"/>
              <a:gd name="T10" fmla="*/ 15 w 106"/>
              <a:gd name="T11" fmla="*/ 18 h 56"/>
              <a:gd name="T12" fmla="*/ 10 w 106"/>
              <a:gd name="T13" fmla="*/ 28 h 56"/>
              <a:gd name="T14" fmla="*/ 6 w 106"/>
              <a:gd name="T15" fmla="*/ 37 h 56"/>
              <a:gd name="T16" fmla="*/ 2 w 106"/>
              <a:gd name="T17" fmla="*/ 47 h 56"/>
              <a:gd name="T18" fmla="*/ 0 w 106"/>
              <a:gd name="T19" fmla="*/ 56 h 56"/>
              <a:gd name="T20" fmla="*/ 106 w 106"/>
              <a:gd name="T21" fmla="*/ 56 h 56"/>
              <a:gd name="T22" fmla="*/ 106 w 106"/>
              <a:gd name="T23" fmla="*/ 56 h 56"/>
              <a:gd name="T24" fmla="*/ 104 w 106"/>
              <a:gd name="T25" fmla="*/ 47 h 56"/>
              <a:gd name="T26" fmla="*/ 102 w 106"/>
              <a:gd name="T27" fmla="*/ 37 h 56"/>
              <a:gd name="T28" fmla="*/ 99 w 106"/>
              <a:gd name="T29" fmla="*/ 28 h 56"/>
              <a:gd name="T30" fmla="*/ 93 w 106"/>
              <a:gd name="T31" fmla="*/ 18 h 56"/>
              <a:gd name="T32" fmla="*/ 85 w 106"/>
              <a:gd name="T33" fmla="*/ 11 h 56"/>
              <a:gd name="T34" fmla="*/ 76 w 106"/>
              <a:gd name="T35" fmla="*/ 5 h 56"/>
              <a:gd name="T36" fmla="*/ 66 w 106"/>
              <a:gd name="T37" fmla="*/ 2 h 56"/>
              <a:gd name="T38" fmla="*/ 53 w 106"/>
              <a:gd name="T39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106" h="56">
                <a:moveTo>
                  <a:pt x="53" y="0"/>
                </a:moveTo>
                <a:lnTo>
                  <a:pt x="53" y="0"/>
                </a:lnTo>
                <a:lnTo>
                  <a:pt x="42" y="2"/>
                </a:lnTo>
                <a:lnTo>
                  <a:pt x="31" y="5"/>
                </a:lnTo>
                <a:lnTo>
                  <a:pt x="23" y="11"/>
                </a:lnTo>
                <a:lnTo>
                  <a:pt x="15" y="18"/>
                </a:lnTo>
                <a:lnTo>
                  <a:pt x="10" y="28"/>
                </a:lnTo>
                <a:lnTo>
                  <a:pt x="6" y="37"/>
                </a:lnTo>
                <a:lnTo>
                  <a:pt x="2" y="47"/>
                </a:lnTo>
                <a:lnTo>
                  <a:pt x="0" y="56"/>
                </a:lnTo>
                <a:lnTo>
                  <a:pt x="106" y="56"/>
                </a:lnTo>
                <a:lnTo>
                  <a:pt x="106" y="56"/>
                </a:lnTo>
                <a:lnTo>
                  <a:pt x="104" y="47"/>
                </a:lnTo>
                <a:lnTo>
                  <a:pt x="102" y="37"/>
                </a:lnTo>
                <a:lnTo>
                  <a:pt x="99" y="28"/>
                </a:lnTo>
                <a:lnTo>
                  <a:pt x="93" y="18"/>
                </a:lnTo>
                <a:lnTo>
                  <a:pt x="85" y="11"/>
                </a:lnTo>
                <a:lnTo>
                  <a:pt x="76" y="5"/>
                </a:lnTo>
                <a:lnTo>
                  <a:pt x="66" y="2"/>
                </a:lnTo>
                <a:lnTo>
                  <a:pt x="53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7" name="Freeform 14">
            <a:extLst>
              <a:ext uri="{FF2B5EF4-FFF2-40B4-BE49-F238E27FC236}">
                <a16:creationId xmlns:a16="http://schemas.microsoft.com/office/drawing/2014/main" id="{90D0D8EF-678A-41F7-8723-A8DDA3424E5C}"/>
              </a:ext>
            </a:extLst>
          </p:cNvPr>
          <p:cNvSpPr>
            <a:spLocks/>
          </p:cNvSpPr>
          <p:nvPr userDrawn="1"/>
        </p:nvSpPr>
        <p:spPr bwMode="auto">
          <a:xfrm>
            <a:off x="10982325" y="1498600"/>
            <a:ext cx="107950" cy="122237"/>
          </a:xfrm>
          <a:custGeom>
            <a:avLst/>
            <a:gdLst>
              <a:gd name="T0" fmla="*/ 0 w 136"/>
              <a:gd name="T1" fmla="*/ 77 h 154"/>
              <a:gd name="T2" fmla="*/ 0 w 136"/>
              <a:gd name="T3" fmla="*/ 77 h 154"/>
              <a:gd name="T4" fmla="*/ 0 w 136"/>
              <a:gd name="T5" fmla="*/ 62 h 154"/>
              <a:gd name="T6" fmla="*/ 4 w 136"/>
              <a:gd name="T7" fmla="*/ 47 h 154"/>
              <a:gd name="T8" fmla="*/ 12 w 136"/>
              <a:gd name="T9" fmla="*/ 33 h 154"/>
              <a:gd name="T10" fmla="*/ 19 w 136"/>
              <a:gd name="T11" fmla="*/ 22 h 154"/>
              <a:gd name="T12" fmla="*/ 29 w 136"/>
              <a:gd name="T13" fmla="*/ 13 h 154"/>
              <a:gd name="T14" fmla="*/ 42 w 136"/>
              <a:gd name="T15" fmla="*/ 5 h 154"/>
              <a:gd name="T16" fmla="*/ 55 w 136"/>
              <a:gd name="T17" fmla="*/ 1 h 154"/>
              <a:gd name="T18" fmla="*/ 68 w 136"/>
              <a:gd name="T19" fmla="*/ 0 h 154"/>
              <a:gd name="T20" fmla="*/ 68 w 136"/>
              <a:gd name="T21" fmla="*/ 0 h 154"/>
              <a:gd name="T22" fmla="*/ 83 w 136"/>
              <a:gd name="T23" fmla="*/ 1 h 154"/>
              <a:gd name="T24" fmla="*/ 98 w 136"/>
              <a:gd name="T25" fmla="*/ 5 h 154"/>
              <a:gd name="T26" fmla="*/ 110 w 136"/>
              <a:gd name="T27" fmla="*/ 13 h 154"/>
              <a:gd name="T28" fmla="*/ 119 w 136"/>
              <a:gd name="T29" fmla="*/ 22 h 154"/>
              <a:gd name="T30" fmla="*/ 127 w 136"/>
              <a:gd name="T31" fmla="*/ 33 h 154"/>
              <a:gd name="T32" fmla="*/ 132 w 136"/>
              <a:gd name="T33" fmla="*/ 47 h 154"/>
              <a:gd name="T34" fmla="*/ 134 w 136"/>
              <a:gd name="T35" fmla="*/ 62 h 154"/>
              <a:gd name="T36" fmla="*/ 136 w 136"/>
              <a:gd name="T37" fmla="*/ 77 h 154"/>
              <a:gd name="T38" fmla="*/ 136 w 136"/>
              <a:gd name="T39" fmla="*/ 82 h 154"/>
              <a:gd name="T40" fmla="*/ 15 w 136"/>
              <a:gd name="T41" fmla="*/ 82 h 154"/>
              <a:gd name="T42" fmla="*/ 15 w 136"/>
              <a:gd name="T43" fmla="*/ 82 h 154"/>
              <a:gd name="T44" fmla="*/ 17 w 136"/>
              <a:gd name="T45" fmla="*/ 94 h 154"/>
              <a:gd name="T46" fmla="*/ 21 w 136"/>
              <a:gd name="T47" fmla="*/ 105 h 154"/>
              <a:gd name="T48" fmla="*/ 27 w 136"/>
              <a:gd name="T49" fmla="*/ 114 h 154"/>
              <a:gd name="T50" fmla="*/ 32 w 136"/>
              <a:gd name="T51" fmla="*/ 122 h 154"/>
              <a:gd name="T52" fmla="*/ 40 w 136"/>
              <a:gd name="T53" fmla="*/ 129 h 154"/>
              <a:gd name="T54" fmla="*/ 49 w 136"/>
              <a:gd name="T55" fmla="*/ 135 h 154"/>
              <a:gd name="T56" fmla="*/ 61 w 136"/>
              <a:gd name="T57" fmla="*/ 139 h 154"/>
              <a:gd name="T58" fmla="*/ 72 w 136"/>
              <a:gd name="T59" fmla="*/ 141 h 154"/>
              <a:gd name="T60" fmla="*/ 72 w 136"/>
              <a:gd name="T61" fmla="*/ 141 h 154"/>
              <a:gd name="T62" fmla="*/ 85 w 136"/>
              <a:gd name="T63" fmla="*/ 139 h 154"/>
              <a:gd name="T64" fmla="*/ 98 w 136"/>
              <a:gd name="T65" fmla="*/ 135 h 154"/>
              <a:gd name="T66" fmla="*/ 110 w 136"/>
              <a:gd name="T67" fmla="*/ 127 h 154"/>
              <a:gd name="T68" fmla="*/ 119 w 136"/>
              <a:gd name="T69" fmla="*/ 120 h 154"/>
              <a:gd name="T70" fmla="*/ 127 w 136"/>
              <a:gd name="T71" fmla="*/ 129 h 154"/>
              <a:gd name="T72" fmla="*/ 127 w 136"/>
              <a:gd name="T73" fmla="*/ 129 h 154"/>
              <a:gd name="T74" fmla="*/ 115 w 136"/>
              <a:gd name="T75" fmla="*/ 141 h 154"/>
              <a:gd name="T76" fmla="*/ 102 w 136"/>
              <a:gd name="T77" fmla="*/ 146 h 154"/>
              <a:gd name="T78" fmla="*/ 89 w 136"/>
              <a:gd name="T79" fmla="*/ 152 h 154"/>
              <a:gd name="T80" fmla="*/ 72 w 136"/>
              <a:gd name="T81" fmla="*/ 154 h 154"/>
              <a:gd name="T82" fmla="*/ 72 w 136"/>
              <a:gd name="T83" fmla="*/ 154 h 154"/>
              <a:gd name="T84" fmla="*/ 57 w 136"/>
              <a:gd name="T85" fmla="*/ 152 h 154"/>
              <a:gd name="T86" fmla="*/ 42 w 136"/>
              <a:gd name="T87" fmla="*/ 148 h 154"/>
              <a:gd name="T88" fmla="*/ 30 w 136"/>
              <a:gd name="T89" fmla="*/ 141 h 154"/>
              <a:gd name="T90" fmla="*/ 19 w 136"/>
              <a:gd name="T91" fmla="*/ 131 h 154"/>
              <a:gd name="T92" fmla="*/ 12 w 136"/>
              <a:gd name="T93" fmla="*/ 120 h 154"/>
              <a:gd name="T94" fmla="*/ 4 w 136"/>
              <a:gd name="T95" fmla="*/ 107 h 154"/>
              <a:gd name="T96" fmla="*/ 0 w 136"/>
              <a:gd name="T97" fmla="*/ 92 h 154"/>
              <a:gd name="T98" fmla="*/ 0 w 136"/>
              <a:gd name="T99" fmla="*/ 77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36" h="154">
                <a:moveTo>
                  <a:pt x="0" y="77"/>
                </a:moveTo>
                <a:lnTo>
                  <a:pt x="0" y="77"/>
                </a:lnTo>
                <a:lnTo>
                  <a:pt x="0" y="62"/>
                </a:lnTo>
                <a:lnTo>
                  <a:pt x="4" y="47"/>
                </a:lnTo>
                <a:lnTo>
                  <a:pt x="12" y="33"/>
                </a:lnTo>
                <a:lnTo>
                  <a:pt x="19" y="22"/>
                </a:lnTo>
                <a:lnTo>
                  <a:pt x="29" y="13"/>
                </a:lnTo>
                <a:lnTo>
                  <a:pt x="42" y="5"/>
                </a:lnTo>
                <a:lnTo>
                  <a:pt x="55" y="1"/>
                </a:lnTo>
                <a:lnTo>
                  <a:pt x="68" y="0"/>
                </a:lnTo>
                <a:lnTo>
                  <a:pt x="68" y="0"/>
                </a:lnTo>
                <a:lnTo>
                  <a:pt x="83" y="1"/>
                </a:lnTo>
                <a:lnTo>
                  <a:pt x="98" y="5"/>
                </a:lnTo>
                <a:lnTo>
                  <a:pt x="110" y="13"/>
                </a:lnTo>
                <a:lnTo>
                  <a:pt x="119" y="22"/>
                </a:lnTo>
                <a:lnTo>
                  <a:pt x="127" y="33"/>
                </a:lnTo>
                <a:lnTo>
                  <a:pt x="132" y="47"/>
                </a:lnTo>
                <a:lnTo>
                  <a:pt x="134" y="62"/>
                </a:lnTo>
                <a:lnTo>
                  <a:pt x="136" y="77"/>
                </a:lnTo>
                <a:lnTo>
                  <a:pt x="136" y="82"/>
                </a:lnTo>
                <a:lnTo>
                  <a:pt x="15" y="82"/>
                </a:lnTo>
                <a:lnTo>
                  <a:pt x="15" y="82"/>
                </a:lnTo>
                <a:lnTo>
                  <a:pt x="17" y="94"/>
                </a:lnTo>
                <a:lnTo>
                  <a:pt x="21" y="105"/>
                </a:lnTo>
                <a:lnTo>
                  <a:pt x="27" y="114"/>
                </a:lnTo>
                <a:lnTo>
                  <a:pt x="32" y="122"/>
                </a:lnTo>
                <a:lnTo>
                  <a:pt x="40" y="129"/>
                </a:lnTo>
                <a:lnTo>
                  <a:pt x="49" y="135"/>
                </a:lnTo>
                <a:lnTo>
                  <a:pt x="61" y="139"/>
                </a:lnTo>
                <a:lnTo>
                  <a:pt x="72" y="141"/>
                </a:lnTo>
                <a:lnTo>
                  <a:pt x="72" y="141"/>
                </a:lnTo>
                <a:lnTo>
                  <a:pt x="85" y="139"/>
                </a:lnTo>
                <a:lnTo>
                  <a:pt x="98" y="135"/>
                </a:lnTo>
                <a:lnTo>
                  <a:pt x="110" y="127"/>
                </a:lnTo>
                <a:lnTo>
                  <a:pt x="119" y="120"/>
                </a:lnTo>
                <a:lnTo>
                  <a:pt x="127" y="129"/>
                </a:lnTo>
                <a:lnTo>
                  <a:pt x="127" y="129"/>
                </a:lnTo>
                <a:lnTo>
                  <a:pt x="115" y="141"/>
                </a:lnTo>
                <a:lnTo>
                  <a:pt x="102" y="146"/>
                </a:lnTo>
                <a:lnTo>
                  <a:pt x="89" y="152"/>
                </a:lnTo>
                <a:lnTo>
                  <a:pt x="72" y="154"/>
                </a:lnTo>
                <a:lnTo>
                  <a:pt x="72" y="154"/>
                </a:lnTo>
                <a:lnTo>
                  <a:pt x="57" y="152"/>
                </a:lnTo>
                <a:lnTo>
                  <a:pt x="42" y="148"/>
                </a:lnTo>
                <a:lnTo>
                  <a:pt x="30" y="141"/>
                </a:lnTo>
                <a:lnTo>
                  <a:pt x="19" y="131"/>
                </a:lnTo>
                <a:lnTo>
                  <a:pt x="12" y="120"/>
                </a:lnTo>
                <a:lnTo>
                  <a:pt x="4" y="107"/>
                </a:lnTo>
                <a:lnTo>
                  <a:pt x="0" y="92"/>
                </a:lnTo>
                <a:lnTo>
                  <a:pt x="0" y="77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18" name="Freeform 15">
            <a:extLst>
              <a:ext uri="{FF2B5EF4-FFF2-40B4-BE49-F238E27FC236}">
                <a16:creationId xmlns:a16="http://schemas.microsoft.com/office/drawing/2014/main" id="{D4BB39C4-4849-468C-9DEA-2CF9B8CDE382}"/>
              </a:ext>
            </a:extLst>
          </p:cNvPr>
          <p:cNvSpPr>
            <a:spLocks/>
          </p:cNvSpPr>
          <p:nvPr userDrawn="1"/>
        </p:nvSpPr>
        <p:spPr bwMode="auto">
          <a:xfrm>
            <a:off x="10874375" y="1509713"/>
            <a:ext cx="77788" cy="98425"/>
          </a:xfrm>
          <a:custGeom>
            <a:avLst/>
            <a:gdLst>
              <a:gd name="T0" fmla="*/ 98 w 98"/>
              <a:gd name="T1" fmla="*/ 62 h 124"/>
              <a:gd name="T2" fmla="*/ 98 w 98"/>
              <a:gd name="T3" fmla="*/ 62 h 124"/>
              <a:gd name="T4" fmla="*/ 97 w 98"/>
              <a:gd name="T5" fmla="*/ 48 h 124"/>
              <a:gd name="T6" fmla="*/ 95 w 98"/>
              <a:gd name="T7" fmla="*/ 37 h 124"/>
              <a:gd name="T8" fmla="*/ 91 w 98"/>
              <a:gd name="T9" fmla="*/ 26 h 124"/>
              <a:gd name="T10" fmla="*/ 85 w 98"/>
              <a:gd name="T11" fmla="*/ 16 h 124"/>
              <a:gd name="T12" fmla="*/ 78 w 98"/>
              <a:gd name="T13" fmla="*/ 9 h 124"/>
              <a:gd name="T14" fmla="*/ 70 w 98"/>
              <a:gd name="T15" fmla="*/ 3 h 124"/>
              <a:gd name="T16" fmla="*/ 59 w 98"/>
              <a:gd name="T17" fmla="*/ 0 h 124"/>
              <a:gd name="T18" fmla="*/ 48 w 98"/>
              <a:gd name="T19" fmla="*/ 0 h 124"/>
              <a:gd name="T20" fmla="*/ 48 w 98"/>
              <a:gd name="T21" fmla="*/ 0 h 124"/>
              <a:gd name="T22" fmla="*/ 32 w 98"/>
              <a:gd name="T23" fmla="*/ 1 h 124"/>
              <a:gd name="T24" fmla="*/ 19 w 98"/>
              <a:gd name="T25" fmla="*/ 7 h 124"/>
              <a:gd name="T26" fmla="*/ 8 w 98"/>
              <a:gd name="T27" fmla="*/ 15 h 124"/>
              <a:gd name="T28" fmla="*/ 0 w 98"/>
              <a:gd name="T29" fmla="*/ 24 h 124"/>
              <a:gd name="T30" fmla="*/ 0 w 98"/>
              <a:gd name="T31" fmla="*/ 97 h 124"/>
              <a:gd name="T32" fmla="*/ 0 w 98"/>
              <a:gd name="T33" fmla="*/ 97 h 124"/>
              <a:gd name="T34" fmla="*/ 8 w 98"/>
              <a:gd name="T35" fmla="*/ 107 h 124"/>
              <a:gd name="T36" fmla="*/ 19 w 98"/>
              <a:gd name="T37" fmla="*/ 116 h 124"/>
              <a:gd name="T38" fmla="*/ 32 w 98"/>
              <a:gd name="T39" fmla="*/ 122 h 124"/>
              <a:gd name="T40" fmla="*/ 48 w 98"/>
              <a:gd name="T41" fmla="*/ 124 h 124"/>
              <a:gd name="T42" fmla="*/ 48 w 98"/>
              <a:gd name="T43" fmla="*/ 124 h 124"/>
              <a:gd name="T44" fmla="*/ 59 w 98"/>
              <a:gd name="T45" fmla="*/ 124 h 124"/>
              <a:gd name="T46" fmla="*/ 70 w 98"/>
              <a:gd name="T47" fmla="*/ 120 h 124"/>
              <a:gd name="T48" fmla="*/ 78 w 98"/>
              <a:gd name="T49" fmla="*/ 114 h 124"/>
              <a:gd name="T50" fmla="*/ 85 w 98"/>
              <a:gd name="T51" fmla="*/ 107 h 124"/>
              <a:gd name="T52" fmla="*/ 91 w 98"/>
              <a:gd name="T53" fmla="*/ 97 h 124"/>
              <a:gd name="T54" fmla="*/ 95 w 98"/>
              <a:gd name="T55" fmla="*/ 86 h 124"/>
              <a:gd name="T56" fmla="*/ 97 w 98"/>
              <a:gd name="T57" fmla="*/ 75 h 124"/>
              <a:gd name="T58" fmla="*/ 98 w 98"/>
              <a:gd name="T59" fmla="*/ 62 h 1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98" h="124">
                <a:moveTo>
                  <a:pt x="98" y="62"/>
                </a:moveTo>
                <a:lnTo>
                  <a:pt x="98" y="62"/>
                </a:lnTo>
                <a:lnTo>
                  <a:pt x="97" y="48"/>
                </a:lnTo>
                <a:lnTo>
                  <a:pt x="95" y="37"/>
                </a:lnTo>
                <a:lnTo>
                  <a:pt x="91" y="26"/>
                </a:lnTo>
                <a:lnTo>
                  <a:pt x="85" y="16"/>
                </a:lnTo>
                <a:lnTo>
                  <a:pt x="78" y="9"/>
                </a:lnTo>
                <a:lnTo>
                  <a:pt x="70" y="3"/>
                </a:lnTo>
                <a:lnTo>
                  <a:pt x="59" y="0"/>
                </a:lnTo>
                <a:lnTo>
                  <a:pt x="48" y="0"/>
                </a:lnTo>
                <a:lnTo>
                  <a:pt x="48" y="0"/>
                </a:lnTo>
                <a:lnTo>
                  <a:pt x="32" y="1"/>
                </a:lnTo>
                <a:lnTo>
                  <a:pt x="19" y="7"/>
                </a:lnTo>
                <a:lnTo>
                  <a:pt x="8" y="15"/>
                </a:lnTo>
                <a:lnTo>
                  <a:pt x="0" y="24"/>
                </a:lnTo>
                <a:lnTo>
                  <a:pt x="0" y="97"/>
                </a:lnTo>
                <a:lnTo>
                  <a:pt x="0" y="97"/>
                </a:lnTo>
                <a:lnTo>
                  <a:pt x="8" y="107"/>
                </a:lnTo>
                <a:lnTo>
                  <a:pt x="19" y="116"/>
                </a:lnTo>
                <a:lnTo>
                  <a:pt x="32" y="122"/>
                </a:lnTo>
                <a:lnTo>
                  <a:pt x="48" y="124"/>
                </a:lnTo>
                <a:lnTo>
                  <a:pt x="48" y="124"/>
                </a:lnTo>
                <a:lnTo>
                  <a:pt x="59" y="124"/>
                </a:lnTo>
                <a:lnTo>
                  <a:pt x="70" y="120"/>
                </a:lnTo>
                <a:lnTo>
                  <a:pt x="78" y="114"/>
                </a:lnTo>
                <a:lnTo>
                  <a:pt x="85" y="107"/>
                </a:lnTo>
                <a:lnTo>
                  <a:pt x="91" y="97"/>
                </a:lnTo>
                <a:lnTo>
                  <a:pt x="95" y="86"/>
                </a:lnTo>
                <a:lnTo>
                  <a:pt x="97" y="75"/>
                </a:lnTo>
                <a:lnTo>
                  <a:pt x="98" y="6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0" name="Freeform 16">
            <a:extLst>
              <a:ext uri="{FF2B5EF4-FFF2-40B4-BE49-F238E27FC236}">
                <a16:creationId xmlns:a16="http://schemas.microsoft.com/office/drawing/2014/main" id="{0C8C2CF2-1680-43E4-972D-20FB0B66EAA0}"/>
              </a:ext>
            </a:extLst>
          </p:cNvPr>
          <p:cNvSpPr>
            <a:spLocks/>
          </p:cNvSpPr>
          <p:nvPr userDrawn="1"/>
        </p:nvSpPr>
        <p:spPr bwMode="auto">
          <a:xfrm>
            <a:off x="10863263" y="1498600"/>
            <a:ext cx="103188" cy="161925"/>
          </a:xfrm>
          <a:custGeom>
            <a:avLst/>
            <a:gdLst>
              <a:gd name="T0" fmla="*/ 15 w 130"/>
              <a:gd name="T1" fmla="*/ 125 h 204"/>
              <a:gd name="T2" fmla="*/ 15 w 130"/>
              <a:gd name="T3" fmla="*/ 204 h 204"/>
              <a:gd name="T4" fmla="*/ 0 w 130"/>
              <a:gd name="T5" fmla="*/ 204 h 204"/>
              <a:gd name="T6" fmla="*/ 0 w 130"/>
              <a:gd name="T7" fmla="*/ 3 h 204"/>
              <a:gd name="T8" fmla="*/ 15 w 130"/>
              <a:gd name="T9" fmla="*/ 3 h 204"/>
              <a:gd name="T10" fmla="*/ 15 w 130"/>
              <a:gd name="T11" fmla="*/ 26 h 204"/>
              <a:gd name="T12" fmla="*/ 15 w 130"/>
              <a:gd name="T13" fmla="*/ 26 h 204"/>
              <a:gd name="T14" fmla="*/ 25 w 130"/>
              <a:gd name="T15" fmla="*/ 16 h 204"/>
              <a:gd name="T16" fmla="*/ 36 w 130"/>
              <a:gd name="T17" fmla="*/ 7 h 204"/>
              <a:gd name="T18" fmla="*/ 49 w 130"/>
              <a:gd name="T19" fmla="*/ 1 h 204"/>
              <a:gd name="T20" fmla="*/ 66 w 130"/>
              <a:gd name="T21" fmla="*/ 0 h 204"/>
              <a:gd name="T22" fmla="*/ 66 w 130"/>
              <a:gd name="T23" fmla="*/ 0 h 204"/>
              <a:gd name="T24" fmla="*/ 80 w 130"/>
              <a:gd name="T25" fmla="*/ 1 h 204"/>
              <a:gd name="T26" fmla="*/ 91 w 130"/>
              <a:gd name="T27" fmla="*/ 5 h 204"/>
              <a:gd name="T28" fmla="*/ 102 w 130"/>
              <a:gd name="T29" fmla="*/ 11 h 204"/>
              <a:gd name="T30" fmla="*/ 112 w 130"/>
              <a:gd name="T31" fmla="*/ 20 h 204"/>
              <a:gd name="T32" fmla="*/ 119 w 130"/>
              <a:gd name="T33" fmla="*/ 31 h 204"/>
              <a:gd name="T34" fmla="*/ 125 w 130"/>
              <a:gd name="T35" fmla="*/ 45 h 204"/>
              <a:gd name="T36" fmla="*/ 129 w 130"/>
              <a:gd name="T37" fmla="*/ 60 h 204"/>
              <a:gd name="T38" fmla="*/ 130 w 130"/>
              <a:gd name="T39" fmla="*/ 77 h 204"/>
              <a:gd name="T40" fmla="*/ 130 w 130"/>
              <a:gd name="T41" fmla="*/ 77 h 204"/>
              <a:gd name="T42" fmla="*/ 129 w 130"/>
              <a:gd name="T43" fmla="*/ 94 h 204"/>
              <a:gd name="T44" fmla="*/ 125 w 130"/>
              <a:gd name="T45" fmla="*/ 109 h 204"/>
              <a:gd name="T46" fmla="*/ 119 w 130"/>
              <a:gd name="T47" fmla="*/ 122 h 204"/>
              <a:gd name="T48" fmla="*/ 112 w 130"/>
              <a:gd name="T49" fmla="*/ 133 h 204"/>
              <a:gd name="T50" fmla="*/ 102 w 130"/>
              <a:gd name="T51" fmla="*/ 141 h 204"/>
              <a:gd name="T52" fmla="*/ 91 w 130"/>
              <a:gd name="T53" fmla="*/ 148 h 204"/>
              <a:gd name="T54" fmla="*/ 80 w 130"/>
              <a:gd name="T55" fmla="*/ 152 h 204"/>
              <a:gd name="T56" fmla="*/ 66 w 130"/>
              <a:gd name="T57" fmla="*/ 154 h 204"/>
              <a:gd name="T58" fmla="*/ 66 w 130"/>
              <a:gd name="T59" fmla="*/ 154 h 204"/>
              <a:gd name="T60" fmla="*/ 51 w 130"/>
              <a:gd name="T61" fmla="*/ 152 h 204"/>
              <a:gd name="T62" fmla="*/ 38 w 130"/>
              <a:gd name="T63" fmla="*/ 146 h 204"/>
              <a:gd name="T64" fmla="*/ 25 w 130"/>
              <a:gd name="T65" fmla="*/ 137 h 204"/>
              <a:gd name="T66" fmla="*/ 15 w 130"/>
              <a:gd name="T67" fmla="*/ 125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30" h="204">
                <a:moveTo>
                  <a:pt x="15" y="125"/>
                </a:moveTo>
                <a:lnTo>
                  <a:pt x="15" y="204"/>
                </a:lnTo>
                <a:lnTo>
                  <a:pt x="0" y="204"/>
                </a:lnTo>
                <a:lnTo>
                  <a:pt x="0" y="3"/>
                </a:lnTo>
                <a:lnTo>
                  <a:pt x="15" y="3"/>
                </a:lnTo>
                <a:lnTo>
                  <a:pt x="15" y="26"/>
                </a:lnTo>
                <a:lnTo>
                  <a:pt x="15" y="26"/>
                </a:lnTo>
                <a:lnTo>
                  <a:pt x="25" y="16"/>
                </a:lnTo>
                <a:lnTo>
                  <a:pt x="36" y="7"/>
                </a:lnTo>
                <a:lnTo>
                  <a:pt x="49" y="1"/>
                </a:lnTo>
                <a:lnTo>
                  <a:pt x="66" y="0"/>
                </a:lnTo>
                <a:lnTo>
                  <a:pt x="66" y="0"/>
                </a:lnTo>
                <a:lnTo>
                  <a:pt x="80" y="1"/>
                </a:lnTo>
                <a:lnTo>
                  <a:pt x="91" y="5"/>
                </a:lnTo>
                <a:lnTo>
                  <a:pt x="102" y="11"/>
                </a:lnTo>
                <a:lnTo>
                  <a:pt x="112" y="20"/>
                </a:lnTo>
                <a:lnTo>
                  <a:pt x="119" y="31"/>
                </a:lnTo>
                <a:lnTo>
                  <a:pt x="125" y="45"/>
                </a:lnTo>
                <a:lnTo>
                  <a:pt x="129" y="60"/>
                </a:lnTo>
                <a:lnTo>
                  <a:pt x="130" y="77"/>
                </a:lnTo>
                <a:lnTo>
                  <a:pt x="130" y="77"/>
                </a:lnTo>
                <a:lnTo>
                  <a:pt x="129" y="94"/>
                </a:lnTo>
                <a:lnTo>
                  <a:pt x="125" y="109"/>
                </a:lnTo>
                <a:lnTo>
                  <a:pt x="119" y="122"/>
                </a:lnTo>
                <a:lnTo>
                  <a:pt x="112" y="133"/>
                </a:lnTo>
                <a:lnTo>
                  <a:pt x="102" y="141"/>
                </a:lnTo>
                <a:lnTo>
                  <a:pt x="91" y="148"/>
                </a:lnTo>
                <a:lnTo>
                  <a:pt x="80" y="152"/>
                </a:lnTo>
                <a:lnTo>
                  <a:pt x="66" y="154"/>
                </a:lnTo>
                <a:lnTo>
                  <a:pt x="66" y="154"/>
                </a:lnTo>
                <a:lnTo>
                  <a:pt x="51" y="152"/>
                </a:lnTo>
                <a:lnTo>
                  <a:pt x="38" y="146"/>
                </a:lnTo>
                <a:lnTo>
                  <a:pt x="25" y="137"/>
                </a:lnTo>
                <a:lnTo>
                  <a:pt x="15" y="125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1" name="Freeform 17">
            <a:extLst>
              <a:ext uri="{FF2B5EF4-FFF2-40B4-BE49-F238E27FC236}">
                <a16:creationId xmlns:a16="http://schemas.microsoft.com/office/drawing/2014/main" id="{909829D3-501F-4E4B-A04C-B3E0FB543271}"/>
              </a:ext>
            </a:extLst>
          </p:cNvPr>
          <p:cNvSpPr>
            <a:spLocks/>
          </p:cNvSpPr>
          <p:nvPr userDrawn="1"/>
        </p:nvSpPr>
        <p:spPr bwMode="auto">
          <a:xfrm>
            <a:off x="10701338" y="1455738"/>
            <a:ext cx="144463" cy="161925"/>
          </a:xfrm>
          <a:custGeom>
            <a:avLst/>
            <a:gdLst>
              <a:gd name="T0" fmla="*/ 81 w 183"/>
              <a:gd name="T1" fmla="*/ 0 h 203"/>
              <a:gd name="T2" fmla="*/ 0 w 183"/>
              <a:gd name="T3" fmla="*/ 203 h 203"/>
              <a:gd name="T4" fmla="*/ 19 w 183"/>
              <a:gd name="T5" fmla="*/ 203 h 203"/>
              <a:gd name="T6" fmla="*/ 40 w 183"/>
              <a:gd name="T7" fmla="*/ 152 h 203"/>
              <a:gd name="T8" fmla="*/ 144 w 183"/>
              <a:gd name="T9" fmla="*/ 152 h 203"/>
              <a:gd name="T10" fmla="*/ 165 w 183"/>
              <a:gd name="T11" fmla="*/ 203 h 203"/>
              <a:gd name="T12" fmla="*/ 183 w 183"/>
              <a:gd name="T13" fmla="*/ 203 h 203"/>
              <a:gd name="T14" fmla="*/ 102 w 183"/>
              <a:gd name="T15" fmla="*/ 0 h 203"/>
              <a:gd name="T16" fmla="*/ 81 w 183"/>
              <a:gd name="T17" fmla="*/ 0 h 2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83" h="203">
                <a:moveTo>
                  <a:pt x="81" y="0"/>
                </a:moveTo>
                <a:lnTo>
                  <a:pt x="0" y="203"/>
                </a:lnTo>
                <a:lnTo>
                  <a:pt x="19" y="203"/>
                </a:lnTo>
                <a:lnTo>
                  <a:pt x="40" y="152"/>
                </a:lnTo>
                <a:lnTo>
                  <a:pt x="144" y="152"/>
                </a:lnTo>
                <a:lnTo>
                  <a:pt x="165" y="203"/>
                </a:lnTo>
                <a:lnTo>
                  <a:pt x="183" y="203"/>
                </a:lnTo>
                <a:lnTo>
                  <a:pt x="102" y="0"/>
                </a:lnTo>
                <a:lnTo>
                  <a:pt x="81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3" name="Freeform 18">
            <a:extLst>
              <a:ext uri="{FF2B5EF4-FFF2-40B4-BE49-F238E27FC236}">
                <a16:creationId xmlns:a16="http://schemas.microsoft.com/office/drawing/2014/main" id="{92C6EEB7-2A7D-46AB-AD5A-47ADB62D2619}"/>
              </a:ext>
            </a:extLst>
          </p:cNvPr>
          <p:cNvSpPr>
            <a:spLocks/>
          </p:cNvSpPr>
          <p:nvPr userDrawn="1"/>
        </p:nvSpPr>
        <p:spPr bwMode="auto">
          <a:xfrm>
            <a:off x="10736263" y="1471613"/>
            <a:ext cx="74613" cy="93662"/>
          </a:xfrm>
          <a:custGeom>
            <a:avLst/>
            <a:gdLst>
              <a:gd name="T0" fmla="*/ 47 w 92"/>
              <a:gd name="T1" fmla="*/ 0 h 118"/>
              <a:gd name="T2" fmla="*/ 92 w 92"/>
              <a:gd name="T3" fmla="*/ 118 h 118"/>
              <a:gd name="T4" fmla="*/ 0 w 92"/>
              <a:gd name="T5" fmla="*/ 118 h 118"/>
              <a:gd name="T6" fmla="*/ 47 w 92"/>
              <a:gd name="T7" fmla="*/ 0 h 1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92" h="118">
                <a:moveTo>
                  <a:pt x="47" y="0"/>
                </a:moveTo>
                <a:lnTo>
                  <a:pt x="92" y="118"/>
                </a:lnTo>
                <a:lnTo>
                  <a:pt x="0" y="118"/>
                </a:lnTo>
                <a:lnTo>
                  <a:pt x="47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10117467" y="5933885"/>
            <a:ext cx="1513816" cy="490968"/>
            <a:chOff x="-298145" y="619236"/>
            <a:chExt cx="11872941" cy="3850688"/>
          </a:xfrm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3DC0316-3E72-8047-A816-7F22A680F3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0" contrast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-298145" y="619236"/>
              <a:ext cx="11872941" cy="3850688"/>
            </a:xfrm>
            <a:prstGeom prst="rect">
              <a:avLst/>
            </a:prstGeom>
          </p:spPr>
        </p:pic>
        <p:sp>
          <p:nvSpPr>
            <p:cNvPr id="5" name="Oval 4"/>
            <p:cNvSpPr/>
            <p:nvPr userDrawn="1"/>
          </p:nvSpPr>
          <p:spPr>
            <a:xfrm>
              <a:off x="9063868" y="619323"/>
              <a:ext cx="659455" cy="659455"/>
            </a:xfrm>
            <a:prstGeom prst="ellipse">
              <a:avLst/>
            </a:prstGeom>
            <a:solidFill>
              <a:srgbClr val="E44E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D4AB5E82-6361-473E-8CC3-5CC0E8D327AA}"/>
              </a:ext>
            </a:extLst>
          </p:cNvPr>
          <p:cNvSpPr txBox="1"/>
          <p:nvPr userDrawn="1"/>
        </p:nvSpPr>
        <p:spPr>
          <a:xfrm>
            <a:off x="3600450" y="6620967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or Disease Educational Use by Apellis MSLs only</a:t>
            </a:r>
            <a:endParaRPr lang="en-US" sz="800" spc="50" baseline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4932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91696" y="3055040"/>
            <a:ext cx="9002486" cy="2011681"/>
          </a:xfrm>
        </p:spPr>
        <p:txBody>
          <a:bodyPr anchor="ctr" anchorCtr="0"/>
          <a:lstStyle>
            <a:lvl1pPr algn="l">
              <a:defRPr sz="2800" b="1" baseline="0">
                <a:solidFill>
                  <a:srgbClr val="FF681D"/>
                </a:solidFill>
              </a:defRPr>
            </a:lvl1pPr>
          </a:lstStyle>
          <a:p>
            <a:r>
              <a:rPr lang="en-US" dirty="0"/>
              <a:t>Click To Edit Chapter Title Sty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446CCF1E-FB3A-9A40-992D-B1337BA514DF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969416" y="4060881"/>
            <a:ext cx="2011680" cy="0"/>
          </a:xfrm>
          <a:prstGeom prst="line">
            <a:avLst/>
          </a:prstGeom>
          <a:ln w="53975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5C056F20-E7F7-46EF-8F58-3D6F6671CBAE}"/>
              </a:ext>
            </a:extLst>
          </p:cNvPr>
          <p:cNvSpPr/>
          <p:nvPr userDrawn="1"/>
        </p:nvSpPr>
        <p:spPr>
          <a:xfrm>
            <a:off x="11356340" y="91440"/>
            <a:ext cx="737541" cy="2593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B3AC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rIns="45720" rtlCol="0" anchor="ctr"/>
          <a:lstStyle/>
          <a:p>
            <a:pPr algn="r"/>
            <a:r>
              <a:rPr lang="en-US" sz="1200" b="1" i="0" spc="0" baseline="0">
                <a:solidFill>
                  <a:srgbClr val="B3ACA7"/>
                </a:solidFill>
              </a:rPr>
              <a:t>Home</a:t>
            </a: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C5D6B190-EF2E-4EC7-B613-337117AFBD08}"/>
              </a:ext>
            </a:extLst>
          </p:cNvPr>
          <p:cNvSpPr/>
          <p:nvPr userDrawn="1"/>
        </p:nvSpPr>
        <p:spPr>
          <a:xfrm>
            <a:off x="11405678" y="133773"/>
            <a:ext cx="167198" cy="164454"/>
          </a:xfrm>
          <a:custGeom>
            <a:avLst/>
            <a:gdLst>
              <a:gd name="connsiteX0" fmla="*/ 84888 w 644996"/>
              <a:gd name="connsiteY0" fmla="*/ 294465 h 634417"/>
              <a:gd name="connsiteX1" fmla="*/ 560108 w 644996"/>
              <a:gd name="connsiteY1" fmla="*/ 294465 h 634417"/>
              <a:gd name="connsiteX2" fmla="*/ 560108 w 644996"/>
              <a:gd name="connsiteY2" fmla="*/ 634417 h 634417"/>
              <a:gd name="connsiteX3" fmla="*/ 377673 w 644996"/>
              <a:gd name="connsiteY3" fmla="*/ 634417 h 634417"/>
              <a:gd name="connsiteX4" fmla="*/ 377673 w 644996"/>
              <a:gd name="connsiteY4" fmla="*/ 479703 h 634417"/>
              <a:gd name="connsiteX5" fmla="*/ 361520 w 644996"/>
              <a:gd name="connsiteY5" fmla="*/ 463550 h 634417"/>
              <a:gd name="connsiteX6" fmla="*/ 290595 w 644996"/>
              <a:gd name="connsiteY6" fmla="*/ 463550 h 634417"/>
              <a:gd name="connsiteX7" fmla="*/ 274442 w 644996"/>
              <a:gd name="connsiteY7" fmla="*/ 479703 h 634417"/>
              <a:gd name="connsiteX8" fmla="*/ 274442 w 644996"/>
              <a:gd name="connsiteY8" fmla="*/ 634417 h 634417"/>
              <a:gd name="connsiteX9" fmla="*/ 84888 w 644996"/>
              <a:gd name="connsiteY9" fmla="*/ 634417 h 634417"/>
              <a:gd name="connsiteX10" fmla="*/ 462045 w 644996"/>
              <a:gd name="connsiteY10" fmla="*/ 0 h 634417"/>
              <a:gd name="connsiteX11" fmla="*/ 532970 w 644996"/>
              <a:gd name="connsiteY11" fmla="*/ 0 h 634417"/>
              <a:gd name="connsiteX12" fmla="*/ 549123 w 644996"/>
              <a:gd name="connsiteY12" fmla="*/ 16153 h 634417"/>
              <a:gd name="connsiteX13" fmla="*/ 549123 w 644996"/>
              <a:gd name="connsiteY13" fmla="*/ 176505 h 634417"/>
              <a:gd name="connsiteX14" fmla="*/ 636363 w 644996"/>
              <a:gd name="connsiteY14" fmla="*/ 246030 h 634417"/>
              <a:gd name="connsiteX15" fmla="*/ 636800 w 644996"/>
              <a:gd name="connsiteY15" fmla="*/ 246870 h 634417"/>
              <a:gd name="connsiteX16" fmla="*/ 637805 w 644996"/>
              <a:gd name="connsiteY16" fmla="*/ 247202 h 634417"/>
              <a:gd name="connsiteX17" fmla="*/ 644996 w 644996"/>
              <a:gd name="connsiteY17" fmla="*/ 261038 h 634417"/>
              <a:gd name="connsiteX18" fmla="*/ 620444 w 644996"/>
              <a:gd name="connsiteY18" fmla="*/ 280604 h 634417"/>
              <a:gd name="connsiteX19" fmla="*/ 38657 w 644996"/>
              <a:gd name="connsiteY19" fmla="*/ 280604 h 634417"/>
              <a:gd name="connsiteX20" fmla="*/ 29830 w 644996"/>
              <a:gd name="connsiteY20" fmla="*/ 277690 h 634417"/>
              <a:gd name="connsiteX21" fmla="*/ 24552 w 644996"/>
              <a:gd name="connsiteY21" fmla="*/ 279432 h 634417"/>
              <a:gd name="connsiteX22" fmla="*/ 7190 w 644996"/>
              <a:gd name="connsiteY22" fmla="*/ 273702 h 634417"/>
              <a:gd name="connsiteX23" fmla="*/ 7190 w 644996"/>
              <a:gd name="connsiteY23" fmla="*/ 246030 h 634417"/>
              <a:gd name="connsiteX24" fmla="*/ 303264 w 644996"/>
              <a:gd name="connsiteY24" fmla="*/ 10077 h 634417"/>
              <a:gd name="connsiteX25" fmla="*/ 320625 w 644996"/>
              <a:gd name="connsiteY25" fmla="*/ 4347 h 634417"/>
              <a:gd name="connsiteX26" fmla="*/ 321776 w 644996"/>
              <a:gd name="connsiteY26" fmla="*/ 4727 h 634417"/>
              <a:gd name="connsiteX27" fmla="*/ 322929 w 644996"/>
              <a:gd name="connsiteY27" fmla="*/ 4347 h 634417"/>
              <a:gd name="connsiteX28" fmla="*/ 340290 w 644996"/>
              <a:gd name="connsiteY28" fmla="*/ 10077 h 634417"/>
              <a:gd name="connsiteX29" fmla="*/ 445892 w 644996"/>
              <a:gd name="connsiteY29" fmla="*/ 94236 h 634417"/>
              <a:gd name="connsiteX30" fmla="*/ 445892 w 644996"/>
              <a:gd name="connsiteY30" fmla="*/ 16153 h 634417"/>
              <a:gd name="connsiteX31" fmla="*/ 462045 w 644996"/>
              <a:gd name="connsiteY31" fmla="*/ 0 h 634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644996" h="634417">
                <a:moveTo>
                  <a:pt x="84888" y="294465"/>
                </a:moveTo>
                <a:lnTo>
                  <a:pt x="560108" y="294465"/>
                </a:lnTo>
                <a:lnTo>
                  <a:pt x="560108" y="634417"/>
                </a:lnTo>
                <a:lnTo>
                  <a:pt x="377673" y="634417"/>
                </a:lnTo>
                <a:lnTo>
                  <a:pt x="377673" y="479703"/>
                </a:lnTo>
                <a:cubicBezTo>
                  <a:pt x="377673" y="470782"/>
                  <a:pt x="370441" y="463550"/>
                  <a:pt x="361520" y="463550"/>
                </a:cubicBezTo>
                <a:lnTo>
                  <a:pt x="290595" y="463550"/>
                </a:lnTo>
                <a:cubicBezTo>
                  <a:pt x="281674" y="463550"/>
                  <a:pt x="274442" y="470782"/>
                  <a:pt x="274442" y="479703"/>
                </a:cubicBezTo>
                <a:lnTo>
                  <a:pt x="274442" y="634417"/>
                </a:lnTo>
                <a:lnTo>
                  <a:pt x="84888" y="634417"/>
                </a:lnTo>
                <a:close/>
                <a:moveTo>
                  <a:pt x="462045" y="0"/>
                </a:moveTo>
                <a:lnTo>
                  <a:pt x="532970" y="0"/>
                </a:lnTo>
                <a:cubicBezTo>
                  <a:pt x="541891" y="0"/>
                  <a:pt x="549123" y="7232"/>
                  <a:pt x="549123" y="16153"/>
                </a:cubicBezTo>
                <a:lnTo>
                  <a:pt x="549123" y="176505"/>
                </a:lnTo>
                <a:lnTo>
                  <a:pt x="636363" y="246030"/>
                </a:lnTo>
                <a:lnTo>
                  <a:pt x="636800" y="246870"/>
                </a:lnTo>
                <a:lnTo>
                  <a:pt x="637805" y="247202"/>
                </a:lnTo>
                <a:cubicBezTo>
                  <a:pt x="642248" y="250743"/>
                  <a:pt x="644996" y="255634"/>
                  <a:pt x="644996" y="261038"/>
                </a:cubicBezTo>
                <a:cubicBezTo>
                  <a:pt x="644996" y="271844"/>
                  <a:pt x="634004" y="280604"/>
                  <a:pt x="620444" y="280604"/>
                </a:cubicBezTo>
                <a:lnTo>
                  <a:pt x="38657" y="280604"/>
                </a:lnTo>
                <a:lnTo>
                  <a:pt x="29830" y="277690"/>
                </a:lnTo>
                <a:lnTo>
                  <a:pt x="24552" y="279432"/>
                </a:lnTo>
                <a:cubicBezTo>
                  <a:pt x="18268" y="279432"/>
                  <a:pt x="11984" y="277522"/>
                  <a:pt x="7190" y="273702"/>
                </a:cubicBezTo>
                <a:cubicBezTo>
                  <a:pt x="-2397" y="266060"/>
                  <a:pt x="-2397" y="253671"/>
                  <a:pt x="7190" y="246030"/>
                </a:cubicBezTo>
                <a:lnTo>
                  <a:pt x="303264" y="10077"/>
                </a:lnTo>
                <a:cubicBezTo>
                  <a:pt x="308058" y="6257"/>
                  <a:pt x="314341" y="4347"/>
                  <a:pt x="320625" y="4347"/>
                </a:cubicBezTo>
                <a:lnTo>
                  <a:pt x="321776" y="4727"/>
                </a:lnTo>
                <a:lnTo>
                  <a:pt x="322929" y="4347"/>
                </a:lnTo>
                <a:cubicBezTo>
                  <a:pt x="329212" y="4347"/>
                  <a:pt x="335496" y="6257"/>
                  <a:pt x="340290" y="10077"/>
                </a:cubicBezTo>
                <a:lnTo>
                  <a:pt x="445892" y="94236"/>
                </a:lnTo>
                <a:lnTo>
                  <a:pt x="445892" y="16153"/>
                </a:lnTo>
                <a:cubicBezTo>
                  <a:pt x="445892" y="7232"/>
                  <a:pt x="453124" y="0"/>
                  <a:pt x="462045" y="0"/>
                </a:cubicBezTo>
                <a:close/>
              </a:path>
            </a:pathLst>
          </a:custGeom>
          <a:solidFill>
            <a:srgbClr val="B3AC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Rectangle: Rounded Corners 6">
            <a:hlinkClick r:id="" action="ppaction://noaction"/>
            <a:extLst>
              <a:ext uri="{FF2B5EF4-FFF2-40B4-BE49-F238E27FC236}">
                <a16:creationId xmlns:a16="http://schemas.microsoft.com/office/drawing/2014/main" id="{5072EB24-6B6F-4793-910B-11CCDD90639C}"/>
              </a:ext>
            </a:extLst>
          </p:cNvPr>
          <p:cNvSpPr/>
          <p:nvPr userDrawn="1"/>
        </p:nvSpPr>
        <p:spPr>
          <a:xfrm>
            <a:off x="11158220" y="0"/>
            <a:ext cx="1033780" cy="44704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rIns="45720" rtlCol="0" anchor="ctr"/>
          <a:lstStyle/>
          <a:p>
            <a:pPr algn="r"/>
            <a:endParaRPr lang="en-US" sz="1200" b="1" i="0" spc="0" baseline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A80A0C7-0E15-424C-B0BE-648B52F77203}"/>
              </a:ext>
            </a:extLst>
          </p:cNvPr>
          <p:cNvSpPr txBox="1"/>
          <p:nvPr userDrawn="1"/>
        </p:nvSpPr>
        <p:spPr>
          <a:xfrm>
            <a:off x="3600450" y="6620967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t>For Disease Educational Use by Apellis MSLs only</a:t>
            </a:r>
            <a:endParaRPr lang="en-US" sz="800" spc="50" baseline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4646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C98D95-EAEA-2940-9E26-CFC90BC9AB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/>
            </a:lvl1pPr>
            <a:lvl2pPr marL="577850" indent="-288925">
              <a:buFont typeface="Arial" panose="020B0604020202020204" pitchFamily="34" charset="0"/>
              <a:buChar char="–"/>
              <a:tabLst/>
              <a:defRPr baseline="0"/>
            </a:lvl2pPr>
            <a:lvl3pPr marL="919163" indent="-228600">
              <a:tabLst/>
              <a:defRPr baseline="0"/>
            </a:lvl3pPr>
            <a:lvl4pPr marL="1314450" indent="-280988">
              <a:buFont typeface="Arial" panose="020B0604020202020204" pitchFamily="34" charset="0"/>
              <a:buChar char="–"/>
              <a:tabLst/>
              <a:defRPr baseline="0"/>
            </a:lvl4pPr>
            <a:lvl5pPr marL="1657350" indent="-228600">
              <a:tabLst/>
              <a:defRPr baseline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545226D-B5B3-2943-9F0F-F80BA5ABC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216001"/>
            <a:ext cx="10874376" cy="87801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>
              <a:defRPr baseline="0">
                <a:solidFill>
                  <a:srgbClr val="FF681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lide Number Placeholder 7">
            <a:extLst>
              <a:ext uri="{FF2B5EF4-FFF2-40B4-BE49-F238E27FC236}">
                <a16:creationId xmlns:a16="http://schemas.microsoft.com/office/drawing/2014/main" id="{CD56A1ED-DC09-6E4E-A539-17264A5BB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56350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fld id="{1F1F3A0D-D7F0-7644-AD00-52309B792B66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1F56886-C25E-9C40-B19A-6CA93D98A10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4928" y="-136811"/>
            <a:ext cx="1400619" cy="1336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41669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486A45E9-BD16-FB46-9CA9-F658E48B02F1}"/>
              </a:ext>
            </a:extLst>
          </p:cNvPr>
          <p:cNvSpPr/>
          <p:nvPr userDrawn="1"/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295144" y="3055041"/>
            <a:ext cx="7779488" cy="2011680"/>
          </a:xfrm>
        </p:spPr>
        <p:txBody>
          <a:bodyPr anchor="ctr" anchorCtr="0"/>
          <a:lstStyle>
            <a:lvl1pPr algn="l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Chapter Title Style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0A7D27C-6125-D546-9053-8A88233E090B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969416" y="4060881"/>
            <a:ext cx="2011680" cy="0"/>
          </a:xfrm>
          <a:prstGeom prst="line">
            <a:avLst/>
          </a:prstGeom>
          <a:ln w="53975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EF7484AD-2129-47DE-B14C-B7DE0E64363E}"/>
              </a:ext>
            </a:extLst>
          </p:cNvPr>
          <p:cNvSpPr/>
          <p:nvPr userDrawn="1"/>
        </p:nvSpPr>
        <p:spPr>
          <a:xfrm>
            <a:off x="11356340" y="91440"/>
            <a:ext cx="737541" cy="25933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solidFill>
              <a:srgbClr val="B3AC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rIns="45720" rtlCol="0" anchor="ctr"/>
          <a:lstStyle/>
          <a:p>
            <a:pPr algn="r"/>
            <a:r>
              <a:rPr lang="en-US" sz="1200" b="1" i="0" spc="0" baseline="0">
                <a:solidFill>
                  <a:srgbClr val="B3ACA7"/>
                </a:solidFill>
              </a:rPr>
              <a:t>Home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EA43C37-0954-4118-AD88-D332BBEAD62E}"/>
              </a:ext>
            </a:extLst>
          </p:cNvPr>
          <p:cNvSpPr/>
          <p:nvPr userDrawn="1"/>
        </p:nvSpPr>
        <p:spPr>
          <a:xfrm>
            <a:off x="11405678" y="133773"/>
            <a:ext cx="167198" cy="164454"/>
          </a:xfrm>
          <a:custGeom>
            <a:avLst/>
            <a:gdLst>
              <a:gd name="connsiteX0" fmla="*/ 84888 w 644996"/>
              <a:gd name="connsiteY0" fmla="*/ 294465 h 634417"/>
              <a:gd name="connsiteX1" fmla="*/ 560108 w 644996"/>
              <a:gd name="connsiteY1" fmla="*/ 294465 h 634417"/>
              <a:gd name="connsiteX2" fmla="*/ 560108 w 644996"/>
              <a:gd name="connsiteY2" fmla="*/ 634417 h 634417"/>
              <a:gd name="connsiteX3" fmla="*/ 377673 w 644996"/>
              <a:gd name="connsiteY3" fmla="*/ 634417 h 634417"/>
              <a:gd name="connsiteX4" fmla="*/ 377673 w 644996"/>
              <a:gd name="connsiteY4" fmla="*/ 479703 h 634417"/>
              <a:gd name="connsiteX5" fmla="*/ 361520 w 644996"/>
              <a:gd name="connsiteY5" fmla="*/ 463550 h 634417"/>
              <a:gd name="connsiteX6" fmla="*/ 290595 w 644996"/>
              <a:gd name="connsiteY6" fmla="*/ 463550 h 634417"/>
              <a:gd name="connsiteX7" fmla="*/ 274442 w 644996"/>
              <a:gd name="connsiteY7" fmla="*/ 479703 h 634417"/>
              <a:gd name="connsiteX8" fmla="*/ 274442 w 644996"/>
              <a:gd name="connsiteY8" fmla="*/ 634417 h 634417"/>
              <a:gd name="connsiteX9" fmla="*/ 84888 w 644996"/>
              <a:gd name="connsiteY9" fmla="*/ 634417 h 634417"/>
              <a:gd name="connsiteX10" fmla="*/ 462045 w 644996"/>
              <a:gd name="connsiteY10" fmla="*/ 0 h 634417"/>
              <a:gd name="connsiteX11" fmla="*/ 532970 w 644996"/>
              <a:gd name="connsiteY11" fmla="*/ 0 h 634417"/>
              <a:gd name="connsiteX12" fmla="*/ 549123 w 644996"/>
              <a:gd name="connsiteY12" fmla="*/ 16153 h 634417"/>
              <a:gd name="connsiteX13" fmla="*/ 549123 w 644996"/>
              <a:gd name="connsiteY13" fmla="*/ 176505 h 634417"/>
              <a:gd name="connsiteX14" fmla="*/ 636363 w 644996"/>
              <a:gd name="connsiteY14" fmla="*/ 246030 h 634417"/>
              <a:gd name="connsiteX15" fmla="*/ 636800 w 644996"/>
              <a:gd name="connsiteY15" fmla="*/ 246870 h 634417"/>
              <a:gd name="connsiteX16" fmla="*/ 637805 w 644996"/>
              <a:gd name="connsiteY16" fmla="*/ 247202 h 634417"/>
              <a:gd name="connsiteX17" fmla="*/ 644996 w 644996"/>
              <a:gd name="connsiteY17" fmla="*/ 261038 h 634417"/>
              <a:gd name="connsiteX18" fmla="*/ 620444 w 644996"/>
              <a:gd name="connsiteY18" fmla="*/ 280604 h 634417"/>
              <a:gd name="connsiteX19" fmla="*/ 38657 w 644996"/>
              <a:gd name="connsiteY19" fmla="*/ 280604 h 634417"/>
              <a:gd name="connsiteX20" fmla="*/ 29830 w 644996"/>
              <a:gd name="connsiteY20" fmla="*/ 277690 h 634417"/>
              <a:gd name="connsiteX21" fmla="*/ 24552 w 644996"/>
              <a:gd name="connsiteY21" fmla="*/ 279432 h 634417"/>
              <a:gd name="connsiteX22" fmla="*/ 7190 w 644996"/>
              <a:gd name="connsiteY22" fmla="*/ 273702 h 634417"/>
              <a:gd name="connsiteX23" fmla="*/ 7190 w 644996"/>
              <a:gd name="connsiteY23" fmla="*/ 246030 h 634417"/>
              <a:gd name="connsiteX24" fmla="*/ 303264 w 644996"/>
              <a:gd name="connsiteY24" fmla="*/ 10077 h 634417"/>
              <a:gd name="connsiteX25" fmla="*/ 320625 w 644996"/>
              <a:gd name="connsiteY25" fmla="*/ 4347 h 634417"/>
              <a:gd name="connsiteX26" fmla="*/ 321776 w 644996"/>
              <a:gd name="connsiteY26" fmla="*/ 4727 h 634417"/>
              <a:gd name="connsiteX27" fmla="*/ 322929 w 644996"/>
              <a:gd name="connsiteY27" fmla="*/ 4347 h 634417"/>
              <a:gd name="connsiteX28" fmla="*/ 340290 w 644996"/>
              <a:gd name="connsiteY28" fmla="*/ 10077 h 634417"/>
              <a:gd name="connsiteX29" fmla="*/ 445892 w 644996"/>
              <a:gd name="connsiteY29" fmla="*/ 94236 h 634417"/>
              <a:gd name="connsiteX30" fmla="*/ 445892 w 644996"/>
              <a:gd name="connsiteY30" fmla="*/ 16153 h 634417"/>
              <a:gd name="connsiteX31" fmla="*/ 462045 w 644996"/>
              <a:gd name="connsiteY31" fmla="*/ 0 h 634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644996" h="634417">
                <a:moveTo>
                  <a:pt x="84888" y="294465"/>
                </a:moveTo>
                <a:lnTo>
                  <a:pt x="560108" y="294465"/>
                </a:lnTo>
                <a:lnTo>
                  <a:pt x="560108" y="634417"/>
                </a:lnTo>
                <a:lnTo>
                  <a:pt x="377673" y="634417"/>
                </a:lnTo>
                <a:lnTo>
                  <a:pt x="377673" y="479703"/>
                </a:lnTo>
                <a:cubicBezTo>
                  <a:pt x="377673" y="470782"/>
                  <a:pt x="370441" y="463550"/>
                  <a:pt x="361520" y="463550"/>
                </a:cubicBezTo>
                <a:lnTo>
                  <a:pt x="290595" y="463550"/>
                </a:lnTo>
                <a:cubicBezTo>
                  <a:pt x="281674" y="463550"/>
                  <a:pt x="274442" y="470782"/>
                  <a:pt x="274442" y="479703"/>
                </a:cubicBezTo>
                <a:lnTo>
                  <a:pt x="274442" y="634417"/>
                </a:lnTo>
                <a:lnTo>
                  <a:pt x="84888" y="634417"/>
                </a:lnTo>
                <a:close/>
                <a:moveTo>
                  <a:pt x="462045" y="0"/>
                </a:moveTo>
                <a:lnTo>
                  <a:pt x="532970" y="0"/>
                </a:lnTo>
                <a:cubicBezTo>
                  <a:pt x="541891" y="0"/>
                  <a:pt x="549123" y="7232"/>
                  <a:pt x="549123" y="16153"/>
                </a:cubicBezTo>
                <a:lnTo>
                  <a:pt x="549123" y="176505"/>
                </a:lnTo>
                <a:lnTo>
                  <a:pt x="636363" y="246030"/>
                </a:lnTo>
                <a:lnTo>
                  <a:pt x="636800" y="246870"/>
                </a:lnTo>
                <a:lnTo>
                  <a:pt x="637805" y="247202"/>
                </a:lnTo>
                <a:cubicBezTo>
                  <a:pt x="642248" y="250743"/>
                  <a:pt x="644996" y="255634"/>
                  <a:pt x="644996" y="261038"/>
                </a:cubicBezTo>
                <a:cubicBezTo>
                  <a:pt x="644996" y="271844"/>
                  <a:pt x="634004" y="280604"/>
                  <a:pt x="620444" y="280604"/>
                </a:cubicBezTo>
                <a:lnTo>
                  <a:pt x="38657" y="280604"/>
                </a:lnTo>
                <a:lnTo>
                  <a:pt x="29830" y="277690"/>
                </a:lnTo>
                <a:lnTo>
                  <a:pt x="24552" y="279432"/>
                </a:lnTo>
                <a:cubicBezTo>
                  <a:pt x="18268" y="279432"/>
                  <a:pt x="11984" y="277522"/>
                  <a:pt x="7190" y="273702"/>
                </a:cubicBezTo>
                <a:cubicBezTo>
                  <a:pt x="-2397" y="266060"/>
                  <a:pt x="-2397" y="253671"/>
                  <a:pt x="7190" y="246030"/>
                </a:cubicBezTo>
                <a:lnTo>
                  <a:pt x="303264" y="10077"/>
                </a:lnTo>
                <a:cubicBezTo>
                  <a:pt x="308058" y="6257"/>
                  <a:pt x="314341" y="4347"/>
                  <a:pt x="320625" y="4347"/>
                </a:cubicBezTo>
                <a:lnTo>
                  <a:pt x="321776" y="4727"/>
                </a:lnTo>
                <a:lnTo>
                  <a:pt x="322929" y="4347"/>
                </a:lnTo>
                <a:cubicBezTo>
                  <a:pt x="329212" y="4347"/>
                  <a:pt x="335496" y="6257"/>
                  <a:pt x="340290" y="10077"/>
                </a:cubicBezTo>
                <a:lnTo>
                  <a:pt x="445892" y="94236"/>
                </a:lnTo>
                <a:lnTo>
                  <a:pt x="445892" y="16153"/>
                </a:lnTo>
                <a:cubicBezTo>
                  <a:pt x="445892" y="7232"/>
                  <a:pt x="453124" y="0"/>
                  <a:pt x="462045" y="0"/>
                </a:cubicBezTo>
                <a:close/>
              </a:path>
            </a:pathLst>
          </a:custGeom>
          <a:solidFill>
            <a:srgbClr val="B3AC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Rectangle: Rounded Corners 7">
            <a:hlinkClick r:id="" action="ppaction://noaction"/>
            <a:extLst>
              <a:ext uri="{FF2B5EF4-FFF2-40B4-BE49-F238E27FC236}">
                <a16:creationId xmlns:a16="http://schemas.microsoft.com/office/drawing/2014/main" id="{85A22C53-D6A9-4A34-B7E3-2C7A58C3F5FE}"/>
              </a:ext>
            </a:extLst>
          </p:cNvPr>
          <p:cNvSpPr/>
          <p:nvPr userDrawn="1"/>
        </p:nvSpPr>
        <p:spPr>
          <a:xfrm>
            <a:off x="11158220" y="0"/>
            <a:ext cx="1033780" cy="44704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rIns="45720" rtlCol="0" anchor="ctr"/>
          <a:lstStyle/>
          <a:p>
            <a:pPr algn="r"/>
            <a:endParaRPr lang="en-US" sz="1200" b="1" i="0" spc="0" baseline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BDAD5B7-0747-426A-B95F-3BCB3BA4D3F1}"/>
              </a:ext>
            </a:extLst>
          </p:cNvPr>
          <p:cNvSpPr txBox="1"/>
          <p:nvPr userDrawn="1"/>
        </p:nvSpPr>
        <p:spPr>
          <a:xfrm>
            <a:off x="3600450" y="6620967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For Disease Educational Use by Apellis MSLs only</a:t>
            </a:r>
            <a:endParaRPr lang="en-US" sz="800" spc="50" baseline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280494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C98D95-EAEA-2940-9E26-CFC90BC9AB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/>
            </a:lvl1pPr>
            <a:lvl2pPr marL="577850" indent="-231775">
              <a:buFont typeface="Arial" panose="020B0604020202020204" pitchFamily="34" charset="0"/>
              <a:buChar char="–"/>
              <a:tabLst/>
              <a:defRPr baseline="0"/>
            </a:lvl2pPr>
            <a:lvl3pPr marL="919163" indent="-177800">
              <a:tabLst/>
              <a:defRPr baseline="0"/>
            </a:lvl3pPr>
            <a:lvl4pPr marL="1314450" indent="-227013">
              <a:buFont typeface="Arial" panose="020B0604020202020204" pitchFamily="34" charset="0"/>
              <a:buChar char="–"/>
              <a:tabLst/>
              <a:defRPr baseline="0"/>
            </a:lvl4pPr>
            <a:lvl5pPr marL="1657350" indent="-174625">
              <a:tabLst/>
              <a:defRPr baseline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9EDF3-25BB-DD4D-9DB1-F7AFD6B77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545226D-B5B3-2943-9F0F-F80BA5ABC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216001"/>
            <a:ext cx="10874376" cy="87801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>
              <a:defRPr baseline="0">
                <a:solidFill>
                  <a:srgbClr val="FF681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871350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C98D95-EAEA-2940-9E26-CFC90BC9AB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8789" y="1304925"/>
            <a:ext cx="5394960" cy="4608513"/>
          </a:xfrm>
        </p:spPr>
        <p:txBody>
          <a:bodyPr/>
          <a:lstStyle>
            <a:lvl1pPr>
              <a:defRPr baseline="0"/>
            </a:lvl1pPr>
            <a:lvl2pPr marL="577850" indent="-228600">
              <a:buFont typeface="Arial" panose="020B0604020202020204" pitchFamily="34" charset="0"/>
              <a:buChar char="–"/>
              <a:tabLst/>
              <a:defRPr baseline="0"/>
            </a:lvl2pPr>
            <a:lvl3pPr marL="919163" indent="-228600">
              <a:tabLst/>
              <a:defRPr baseline="0"/>
            </a:lvl3pPr>
            <a:lvl4pPr marL="1314450" indent="-280988">
              <a:buFont typeface="Arial" panose="020B0604020202020204" pitchFamily="34" charset="0"/>
              <a:buChar char="–"/>
              <a:tabLst/>
              <a:defRPr baseline="0"/>
            </a:lvl4pPr>
            <a:lvl5pPr marL="1717675" indent="-228600">
              <a:tabLst/>
              <a:defRPr baseline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9EDF3-25BB-DD4D-9DB1-F7AFD6B77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545226D-B5B3-2943-9F0F-F80BA5ABC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789" y="216000"/>
            <a:ext cx="10866450" cy="87801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06F0832-81AF-2A42-AE9B-DDCEF995A5BB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38240" y="1304925"/>
            <a:ext cx="5394960" cy="4608513"/>
          </a:xfrm>
        </p:spPr>
        <p:txBody>
          <a:bodyPr/>
          <a:lstStyle>
            <a:lvl1pPr>
              <a:defRPr baseline="0"/>
            </a:lvl1pPr>
            <a:lvl2pPr marL="630238" indent="-280988">
              <a:buFont typeface="Arial" panose="020B0604020202020204" pitchFamily="34" charset="0"/>
              <a:buChar char="–"/>
              <a:tabLst/>
              <a:defRPr baseline="0"/>
            </a:lvl2pPr>
            <a:lvl3pPr marL="973138" indent="-228600">
              <a:tabLst/>
              <a:defRPr baseline="0"/>
            </a:lvl3pPr>
            <a:lvl4pPr marL="1314450" indent="-227013">
              <a:buFont typeface="Arial" panose="020B0604020202020204" pitchFamily="34" charset="0"/>
              <a:buChar char="–"/>
              <a:tabLst/>
              <a:defRPr baseline="0"/>
            </a:lvl4pPr>
            <a:lvl5pPr marL="1657350" indent="-228600">
              <a:tabLst/>
              <a:defRPr baseline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919216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C98D95-EAEA-2940-9E26-CFC90BC9AB4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0863" y="1304925"/>
            <a:ext cx="3603796" cy="4597293"/>
          </a:xfrm>
        </p:spPr>
        <p:txBody>
          <a:bodyPr>
            <a:normAutofit/>
          </a:bodyPr>
          <a:lstStyle>
            <a:lvl1pPr marL="173038" indent="-173038" algn="l">
              <a:buClr>
                <a:srgbClr val="4A4F55"/>
              </a:buClr>
              <a:buFont typeface="Arial" panose="020B0604020202020204" pitchFamily="34" charset="0"/>
              <a:buChar char="•"/>
              <a:defRPr sz="1800" baseline="0"/>
            </a:lvl1pPr>
            <a:lvl2pPr marL="457200" indent="0" algn="ctr">
              <a:buFont typeface="Arial"/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Font typeface="Arial"/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9EDF3-25BB-DD4D-9DB1-F7AFD6B77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545226D-B5B3-2943-9F0F-F80BA5ABC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216000"/>
            <a:ext cx="10874376" cy="87801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AFB88B7-07B3-FE4C-9BB3-7FDE5402CA43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243152" y="1308291"/>
            <a:ext cx="3645970" cy="4597293"/>
          </a:xfrm>
        </p:spPr>
        <p:txBody>
          <a:bodyPr>
            <a:normAutofit/>
          </a:bodyPr>
          <a:lstStyle>
            <a:lvl1pPr marL="173038" indent="-173038" algn="l">
              <a:buClr>
                <a:srgbClr val="4A4F55"/>
              </a:buClr>
              <a:buFont typeface="Arial" panose="020B0604020202020204" pitchFamily="34" charset="0"/>
              <a:buChar char="•"/>
              <a:defRPr sz="1800" baseline="0"/>
            </a:lvl1pPr>
            <a:lvl2pPr marL="457200" indent="0" algn="ctr">
              <a:buFont typeface="Arial"/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Font typeface="Arial"/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62CB780-FE89-A241-9D1B-4EB430F5DCE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977614" y="1316144"/>
            <a:ext cx="3655585" cy="4597293"/>
          </a:xfrm>
        </p:spPr>
        <p:txBody>
          <a:bodyPr>
            <a:normAutofit/>
          </a:bodyPr>
          <a:lstStyle>
            <a:lvl1pPr marL="173038" indent="-173038" algn="l">
              <a:buClr>
                <a:srgbClr val="4A4F55"/>
              </a:buClr>
              <a:buFont typeface="Arial" panose="020B0604020202020204" pitchFamily="34" charset="0"/>
              <a:buChar char="•"/>
              <a:defRPr sz="1800" baseline="0"/>
            </a:lvl1pPr>
            <a:lvl2pPr marL="457200" indent="0" algn="ctr">
              <a:buFont typeface="Arial"/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Font typeface="Arial"/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89291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AF77DB-5D53-C445-A3E4-4BAD1DC4A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216000"/>
            <a:ext cx="10874376" cy="878012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B6844-FF07-3D4F-BFE1-E751B8CFFF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9958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7887B7-A0A0-3F44-9ED6-868889759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266838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8A30FD33-A2A7-4E2A-95B4-A3C522AE551B}"/>
              </a:ext>
            </a:extLst>
          </p:cNvPr>
          <p:cNvSpPr/>
          <p:nvPr userDrawn="1"/>
        </p:nvSpPr>
        <p:spPr>
          <a:xfrm>
            <a:off x="243068" y="1006997"/>
            <a:ext cx="11948932" cy="5440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750888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smiling for the camera&#10;&#10;Description automatically generated">
            <a:extLst>
              <a:ext uri="{FF2B5EF4-FFF2-40B4-BE49-F238E27FC236}">
                <a16:creationId xmlns:a16="http://schemas.microsoft.com/office/drawing/2014/main" id="{2210F773-73AB-4849-8236-22C04543C9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7051054" cy="56759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6AD3546-9610-9E4A-8BDD-E2E6648FD1A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93000" y="901700"/>
            <a:ext cx="4290944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BB20CB3-3FFE-5C49-833D-0B39A2F35A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3000" y="3429000"/>
            <a:ext cx="4290944" cy="10609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AF70461-18DE-477D-A6C3-74E2E4E9C4F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35119" y="6022700"/>
            <a:ext cx="2299669" cy="654587"/>
          </a:xfrm>
          <a:prstGeom prst="rect">
            <a:avLst/>
          </a:prstGeom>
        </p:spPr>
      </p:pic>
      <p:pic>
        <p:nvPicPr>
          <p:cNvPr id="8" name="Picture 7" descr="Text&#10;&#10;Description automatically generated">
            <a:extLst>
              <a:ext uri="{FF2B5EF4-FFF2-40B4-BE49-F238E27FC236}">
                <a16:creationId xmlns:a16="http://schemas.microsoft.com/office/drawing/2014/main" id="{4E59C47C-6BD4-4A49-9224-F1EFA3A3388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2814" y="4950107"/>
            <a:ext cx="2723667" cy="1255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7464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456">
          <p15:clr>
            <a:srgbClr val="FBAE40"/>
          </p15:clr>
        </p15:guide>
        <p15:guide id="2" pos="457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2CD405AA-F67D-F34B-9842-F4AB296A2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17" t="26452"/>
          <a:stretch/>
        </p:blipFill>
        <p:spPr>
          <a:xfrm>
            <a:off x="0" y="-1"/>
            <a:ext cx="7051054" cy="56759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6AD3546-9610-9E4A-8BDD-E2E6648FD1A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97280" y="901700"/>
            <a:ext cx="4290944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BB20CB3-3FFE-5C49-833D-0B39A2F35A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97280" y="3429000"/>
            <a:ext cx="4290944" cy="10609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E39329E-BA61-4E91-8EF2-2558F50D9E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35119" y="6022700"/>
            <a:ext cx="2299669" cy="654587"/>
          </a:xfrm>
          <a:prstGeom prst="rect">
            <a:avLst/>
          </a:prstGeom>
        </p:spPr>
      </p:pic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999527B0-CF60-45EC-AA04-0D6F89A313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828" b="15055"/>
          <a:stretch/>
        </p:blipFill>
        <p:spPr>
          <a:xfrm>
            <a:off x="0" y="5892800"/>
            <a:ext cx="2514693" cy="86505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9F6111C-0BD7-436D-9DB4-45DFF76A7C4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116744" y="631371"/>
            <a:ext cx="1689803" cy="506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325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76">
          <p15:clr>
            <a:srgbClr val="FBAE40"/>
          </p15:clr>
        </p15:guide>
        <p15:guide id="2" orient="horz" pos="3712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Breaker Slide_without Sobi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2CD405AA-F67D-F34B-9842-F4AB296A2F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17" t="26452"/>
          <a:stretch/>
        </p:blipFill>
        <p:spPr>
          <a:xfrm>
            <a:off x="0" y="-1"/>
            <a:ext cx="7051054" cy="56759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6AD3546-9610-9E4A-8BDD-E2E6648FD1A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97280" y="901700"/>
            <a:ext cx="4290944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BB20CB3-3FFE-5C49-833D-0B39A2F35A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97280" y="3429000"/>
            <a:ext cx="4290944" cy="1060932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6E39329E-BA61-4E91-8EF2-2558F50D9E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35119" y="6022700"/>
            <a:ext cx="2299669" cy="654587"/>
          </a:xfrm>
          <a:prstGeom prst="rect">
            <a:avLst/>
          </a:prstGeom>
        </p:spPr>
      </p:pic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999527B0-CF60-45EC-AA04-0D6F89A313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828" b="15055"/>
          <a:stretch/>
        </p:blipFill>
        <p:spPr>
          <a:xfrm>
            <a:off x="0" y="5892800"/>
            <a:ext cx="2514693" cy="865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444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576">
          <p15:clr>
            <a:srgbClr val="FBAE40"/>
          </p15:clr>
        </p15:guide>
        <p15:guide id="2" orient="horz" pos="3712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C98D95-EAEA-2940-9E26-CFC90BC9AB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0863" y="1304925"/>
            <a:ext cx="5439121" cy="4609282"/>
          </a:xfrm>
        </p:spPr>
        <p:txBody>
          <a:bodyPr/>
          <a:lstStyle>
            <a:lvl1pPr>
              <a:defRPr baseline="0"/>
            </a:lvl1pPr>
            <a:lvl2pPr marL="577850" indent="-288925">
              <a:buFont typeface="Arial" panose="020B0604020202020204" pitchFamily="34" charset="0"/>
              <a:buChar char="–"/>
              <a:tabLst/>
              <a:defRPr baseline="0"/>
            </a:lvl2pPr>
            <a:lvl3pPr marL="919163" indent="-228600">
              <a:tabLst/>
              <a:defRPr baseline="0"/>
            </a:lvl3pPr>
            <a:lvl4pPr marL="1314450" indent="-280988">
              <a:buFont typeface="Arial" panose="020B0604020202020204" pitchFamily="34" charset="0"/>
              <a:buChar char="–"/>
              <a:tabLst/>
              <a:defRPr baseline="0"/>
            </a:lvl4pPr>
            <a:lvl5pPr marL="1657350" indent="-228600">
              <a:tabLst/>
              <a:defRPr baseline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545226D-B5B3-2943-9F0F-F80BA5ABC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216001"/>
            <a:ext cx="10874376" cy="87801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>
              <a:defRPr baseline="0">
                <a:solidFill>
                  <a:srgbClr val="FF681D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lide Number Placeholder 7">
            <a:extLst>
              <a:ext uri="{FF2B5EF4-FFF2-40B4-BE49-F238E27FC236}">
                <a16:creationId xmlns:a16="http://schemas.microsoft.com/office/drawing/2014/main" id="{CD56A1ED-DC09-6E4E-A539-17264A5BBE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356350"/>
            <a:ext cx="1219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fld id="{1F1F3A0D-D7F0-7644-AD00-52309B792B66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3CC059E-B6AF-864D-B984-FCA5C5A596D0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02017" y="1304925"/>
            <a:ext cx="5227983" cy="4609282"/>
          </a:xfrm>
        </p:spPr>
        <p:txBody>
          <a:bodyPr/>
          <a:lstStyle>
            <a:lvl1pPr>
              <a:defRPr baseline="0"/>
            </a:lvl1pPr>
            <a:lvl2pPr marL="577850" indent="-288925">
              <a:buFont typeface="Arial" panose="020B0604020202020204" pitchFamily="34" charset="0"/>
              <a:buChar char="–"/>
              <a:tabLst/>
              <a:defRPr baseline="0"/>
            </a:lvl2pPr>
            <a:lvl3pPr marL="919163" indent="-228600">
              <a:tabLst/>
              <a:defRPr baseline="0"/>
            </a:lvl3pPr>
            <a:lvl4pPr marL="1314450" indent="-280988">
              <a:buFont typeface="Arial" panose="020B0604020202020204" pitchFamily="34" charset="0"/>
              <a:buChar char="–"/>
              <a:tabLst/>
              <a:defRPr baseline="0"/>
            </a:lvl4pPr>
            <a:lvl5pPr marL="1657350" indent="-228600">
              <a:tabLst/>
              <a:defRPr baseline="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40DBF54E-E61A-3441-B865-4DD2A35947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4928" y="-136811"/>
            <a:ext cx="1400619" cy="1336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37128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w/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6793CD16-C788-9245-94F3-337C8CCC2E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17" t="26452"/>
          <a:stretch/>
        </p:blipFill>
        <p:spPr>
          <a:xfrm>
            <a:off x="0" y="0"/>
            <a:ext cx="7051054" cy="5675923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BB20CB3-3FFE-5C49-833D-0B39A2F35A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3000" y="2909668"/>
            <a:ext cx="4290944" cy="600559"/>
          </a:xfrm>
        </p:spPr>
        <p:txBody>
          <a:bodyPr lIns="0" tIns="0" rIns="0" bIns="0" anchor="t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7BB8653-8248-A44E-9C9A-967B1B9F2B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93000" y="3618621"/>
            <a:ext cx="4291013" cy="1519588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>
                <a:solidFill>
                  <a:schemeClr val="tx2"/>
                </a:solidFill>
              </a:defRPr>
            </a:lvl2pPr>
            <a:lvl3pPr marL="914400" indent="0">
              <a:buNone/>
              <a:defRPr sz="1400">
                <a:solidFill>
                  <a:schemeClr val="tx2"/>
                </a:solidFill>
              </a:defRPr>
            </a:lvl3pPr>
            <a:lvl4pPr marL="1371600" indent="0">
              <a:buNone/>
              <a:defRPr sz="1400">
                <a:solidFill>
                  <a:schemeClr val="tx2"/>
                </a:solidFill>
              </a:defRPr>
            </a:lvl4pPr>
            <a:lvl5pPr marL="1828800" indent="0">
              <a:buNone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6AD3546-9610-9E4A-8BDD-E2E6648FD1A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96051" y="1456531"/>
            <a:ext cx="4376061" cy="2387600"/>
          </a:xfrm>
        </p:spPr>
        <p:txBody>
          <a:bodyPr lIns="0" tIns="0" rIns="0" bIns="0" anchor="b">
            <a:noAutofit/>
          </a:bodyPr>
          <a:lstStyle>
            <a:lvl1pPr algn="l">
              <a:defRPr sz="36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A2B1B688-4232-4C2F-BC3E-B0D9265C20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35119" y="6022700"/>
            <a:ext cx="2299669" cy="654587"/>
          </a:xfrm>
          <a:prstGeom prst="rect">
            <a:avLst/>
          </a:prstGeom>
        </p:spPr>
      </p:pic>
      <p:pic>
        <p:nvPicPr>
          <p:cNvPr id="11" name="Picture 10" descr="Text&#10;&#10;Description automatically generated">
            <a:extLst>
              <a:ext uri="{FF2B5EF4-FFF2-40B4-BE49-F238E27FC236}">
                <a16:creationId xmlns:a16="http://schemas.microsoft.com/office/drawing/2014/main" id="{38291030-52B5-47F2-8F65-FA198976FA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828" b="15055"/>
          <a:stretch/>
        </p:blipFill>
        <p:spPr>
          <a:xfrm>
            <a:off x="0" y="5892800"/>
            <a:ext cx="2514693" cy="8650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8972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er Title and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0342682F-6430-304B-8D4E-2E1CDBA63CD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5295214" cy="45858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1BCA702-A6AA-B744-B623-54BA666B1F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794" y="1440630"/>
            <a:ext cx="380386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069EAF-FC1A-A04E-80FA-209F79F47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30728" y="1676400"/>
            <a:ext cx="4997672" cy="3869932"/>
          </a:xfrm>
        </p:spPr>
        <p:txBody>
          <a:bodyPr lIns="0" tIns="0" rIns="0" bIns="0">
            <a:normAutofit/>
          </a:bodyPr>
          <a:lstStyle>
            <a:lvl1pPr marL="119063" indent="-119063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4488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1500" indent="-10636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0288" indent="-109538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F24C6C-E305-244D-928F-26A78A3DF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64901" y="6463022"/>
            <a:ext cx="276497" cy="184666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fld id="{50620D76-24A1-FC40-9CC5-875E724E73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AD88553-F43B-9249-9948-DDE5A76D0D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1702" y="6509189"/>
            <a:ext cx="9056980" cy="138499"/>
          </a:xfr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A183D72-63D9-4F5B-A743-FB841219CC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6409" y="6322411"/>
            <a:ext cx="1342196" cy="382048"/>
          </a:xfrm>
          <a:prstGeom prst="rect">
            <a:avLst/>
          </a:prstGeom>
        </p:spPr>
      </p:pic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35A7B737-9875-4982-A807-137B99593CC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0637" y="5648452"/>
            <a:ext cx="1589661" cy="732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948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56">
          <p15:clr>
            <a:srgbClr val="FBAE40"/>
          </p15:clr>
        </p15:guide>
        <p15:guide id="2" pos="336">
          <p15:clr>
            <a:srgbClr val="FBAE40"/>
          </p15:clr>
        </p15:guide>
        <p15:guide id="3" orient="horz" pos="2260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BCA702-A6AA-B744-B623-54BA666B1F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069EAF-FC1A-A04E-80FA-209F79F47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701" y="1345851"/>
            <a:ext cx="11064241" cy="4351338"/>
          </a:xfrm>
        </p:spPr>
        <p:txBody>
          <a:bodyPr lIns="0" tIns="0" rIns="0" bIns="0">
            <a:normAutofit/>
          </a:bodyPr>
          <a:lstStyle>
            <a:lvl1pPr marL="115888" indent="-11588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4488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3088" indent="-107950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1688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0288" indent="-109538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F24C6C-E305-244D-928F-26A78A3DF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64901" y="6463022"/>
            <a:ext cx="276497" cy="184666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fld id="{50620D76-24A1-FC40-9CC5-875E724E73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AD88553-F43B-9249-9948-DDE5A76D0D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1702" y="6571559"/>
            <a:ext cx="9056979" cy="138499"/>
          </a:xfr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picture containing knife&#10;&#10;Description automatically generated">
            <a:extLst>
              <a:ext uri="{FF2B5EF4-FFF2-40B4-BE49-F238E27FC236}">
                <a16:creationId xmlns:a16="http://schemas.microsoft.com/office/drawing/2014/main" id="{8727D5D5-8378-474F-A77E-E5C4C17CD5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625942" y="-7382"/>
            <a:ext cx="567763" cy="152340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0D937EE-14C9-CF4C-BB73-ACE635A13C35}"/>
              </a:ext>
            </a:extLst>
          </p:cNvPr>
          <p:cNvCxnSpPr>
            <a:cxnSpLocks/>
          </p:cNvCxnSpPr>
          <p:nvPr userDrawn="1"/>
        </p:nvCxnSpPr>
        <p:spPr>
          <a:xfrm>
            <a:off x="561701" y="1127526"/>
            <a:ext cx="1173320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02D685B9-B32A-4E36-8F1B-458B16B0A21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6409" y="6322411"/>
            <a:ext cx="1342196" cy="382048"/>
          </a:xfrm>
          <a:prstGeom prst="rect">
            <a:avLst/>
          </a:prstGeom>
        </p:spPr>
      </p:pic>
      <p:pic>
        <p:nvPicPr>
          <p:cNvPr id="13" name="Picture 12" descr="Text&#10;&#10;Description automatically generated">
            <a:extLst>
              <a:ext uri="{FF2B5EF4-FFF2-40B4-BE49-F238E27FC236}">
                <a16:creationId xmlns:a16="http://schemas.microsoft.com/office/drawing/2014/main" id="{F000939A-84FA-495B-BD34-06B0B90C36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0637" y="5648452"/>
            <a:ext cx="1589661" cy="732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536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_Un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BCA702-A6AA-B744-B623-54BA666B1F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069EAF-FC1A-A04E-80FA-209F79F47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701" y="1346456"/>
            <a:ext cx="11064241" cy="4351338"/>
          </a:xfrm>
        </p:spPr>
        <p:txBody>
          <a:bodyPr lIns="0" tIns="0" rIns="0" bIns="0">
            <a:normAutofit/>
          </a:bodyPr>
          <a:lstStyle>
            <a:lvl1pPr marL="114300" indent="-114300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6075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6263" indent="-111125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1688" indent="-114300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1875" indent="-111125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F24C6C-E305-244D-928F-26A78A3DF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64901" y="6463022"/>
            <a:ext cx="276497" cy="184666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fld id="{50620D76-24A1-FC40-9CC5-875E724E73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AD88553-F43B-9249-9948-DDE5A76D0D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1701" y="6509189"/>
            <a:ext cx="9471299" cy="138499"/>
          </a:xfr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picture containing knife&#10;&#10;Description automatically generated">
            <a:extLst>
              <a:ext uri="{FF2B5EF4-FFF2-40B4-BE49-F238E27FC236}">
                <a16:creationId xmlns:a16="http://schemas.microsoft.com/office/drawing/2014/main" id="{B116515A-63A5-0640-9CF2-0FFDABCD3C5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625942" y="-7382"/>
            <a:ext cx="567763" cy="1523402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1462E3-CC77-7F45-95B4-BA8FB9C8D6AB}"/>
              </a:ext>
            </a:extLst>
          </p:cNvPr>
          <p:cNvCxnSpPr>
            <a:cxnSpLocks/>
          </p:cNvCxnSpPr>
          <p:nvPr userDrawn="1"/>
        </p:nvCxnSpPr>
        <p:spPr>
          <a:xfrm>
            <a:off x="561701" y="1127526"/>
            <a:ext cx="1173320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Graphic 8">
            <a:extLst>
              <a:ext uri="{FF2B5EF4-FFF2-40B4-BE49-F238E27FC236}">
                <a16:creationId xmlns:a16="http://schemas.microsoft.com/office/drawing/2014/main" id="{7D6C9ACC-C4A1-4815-855C-6889CD1C012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6409" y="6322411"/>
            <a:ext cx="1342196" cy="382048"/>
          </a:xfrm>
          <a:prstGeom prst="rect">
            <a:avLst/>
          </a:prstGeom>
        </p:spPr>
      </p:pic>
      <p:pic>
        <p:nvPicPr>
          <p:cNvPr id="12" name="Picture 11" descr="Text&#10;&#10;Description automatically generated">
            <a:extLst>
              <a:ext uri="{FF2B5EF4-FFF2-40B4-BE49-F238E27FC236}">
                <a16:creationId xmlns:a16="http://schemas.microsoft.com/office/drawing/2014/main" id="{9A698B01-DAAC-4D90-AD8D-F288DCF1579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0637" y="5648452"/>
            <a:ext cx="1589661" cy="732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921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BCA702-A6AA-B744-B623-54BA666B1F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700" y="210312"/>
            <a:ext cx="10515600" cy="850392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069EAF-FC1A-A04E-80FA-209F79F473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1700" y="1346456"/>
            <a:ext cx="4937760" cy="4351338"/>
          </a:xfrm>
        </p:spPr>
        <p:txBody>
          <a:bodyPr lIns="0" tIns="0" rIns="0" bIns="0">
            <a:normAutofit/>
          </a:bodyPr>
          <a:lstStyle>
            <a:lvl1pPr marL="122238" indent="-12223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9250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7850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3463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F24C6C-E305-244D-928F-26A78A3DF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70362" y="6463022"/>
            <a:ext cx="276497" cy="184666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fld id="{50620D76-24A1-FC40-9CC5-875E724E73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451779D9-3A1B-4E43-B7E9-281A488D388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139542" y="1346456"/>
            <a:ext cx="4937760" cy="4351338"/>
          </a:xfrm>
        </p:spPr>
        <p:txBody>
          <a:bodyPr lIns="0" tIns="0" rIns="0" bIns="0">
            <a:normAutofit/>
          </a:bodyPr>
          <a:lstStyle>
            <a:lvl1pPr marL="122238" indent="-122238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  <a:lvl2pPr marL="349250" indent="-117475">
              <a:lnSpc>
                <a:spcPct val="100000"/>
              </a:lnSpc>
              <a:buClr>
                <a:schemeClr val="tx2"/>
              </a:buClr>
              <a:buFont typeface="System Font Regular"/>
              <a:buChar char="–"/>
              <a:tabLst/>
              <a:defRPr sz="1400">
                <a:solidFill>
                  <a:schemeClr val="tx1"/>
                </a:solidFill>
              </a:defRPr>
            </a:lvl2pPr>
            <a:lvl3pPr marL="577850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3pPr>
            <a:lvl4pPr marL="804863" indent="-122238">
              <a:lnSpc>
                <a:spcPct val="100000"/>
              </a:lnSpc>
              <a:buClr>
                <a:schemeClr val="tx2"/>
              </a:buClr>
              <a:buFont typeface="System Font Regular"/>
              <a:buChar char="-"/>
              <a:tabLst/>
              <a:defRPr sz="1400">
                <a:solidFill>
                  <a:schemeClr val="tx1"/>
                </a:solidFill>
              </a:defRPr>
            </a:lvl4pPr>
            <a:lvl5pPr marL="1033463" indent="-112713">
              <a:lnSpc>
                <a:spcPct val="100000"/>
              </a:lnSpc>
              <a:buClr>
                <a:schemeClr val="tx2"/>
              </a:buClr>
              <a:buFont typeface="System Font Regular"/>
              <a:buChar char="◦"/>
              <a:tabLst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6D7FB5B-349D-3E44-87A7-B9A24884FE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1699" y="6571559"/>
            <a:ext cx="9051521" cy="138499"/>
          </a:xfr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 descr="A picture containing knife&#10;&#10;Description automatically generated">
            <a:extLst>
              <a:ext uri="{FF2B5EF4-FFF2-40B4-BE49-F238E27FC236}">
                <a16:creationId xmlns:a16="http://schemas.microsoft.com/office/drawing/2014/main" id="{8721CE8A-6E4F-CA46-A4DD-79A2537CF7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625942" y="-7382"/>
            <a:ext cx="567763" cy="1523402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DCB848E-A96D-124E-BBA6-60DACBAE4D31}"/>
              </a:ext>
            </a:extLst>
          </p:cNvPr>
          <p:cNvCxnSpPr>
            <a:cxnSpLocks/>
          </p:cNvCxnSpPr>
          <p:nvPr userDrawn="1"/>
        </p:nvCxnSpPr>
        <p:spPr>
          <a:xfrm>
            <a:off x="561701" y="1127526"/>
            <a:ext cx="1173320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phic 13">
            <a:extLst>
              <a:ext uri="{FF2B5EF4-FFF2-40B4-BE49-F238E27FC236}">
                <a16:creationId xmlns:a16="http://schemas.microsoft.com/office/drawing/2014/main" id="{25261791-BBD7-4286-A350-2A7CD5B302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6409" y="6322411"/>
            <a:ext cx="1342196" cy="382048"/>
          </a:xfrm>
          <a:prstGeom prst="rect">
            <a:avLst/>
          </a:prstGeom>
        </p:spPr>
      </p:pic>
      <p:pic>
        <p:nvPicPr>
          <p:cNvPr id="16" name="Picture 15" descr="Text&#10;&#10;Description automatically generated">
            <a:extLst>
              <a:ext uri="{FF2B5EF4-FFF2-40B4-BE49-F238E27FC236}">
                <a16:creationId xmlns:a16="http://schemas.microsoft.com/office/drawing/2014/main" id="{DDCA32E4-7568-435B-AC06-1C17177F9BD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0637" y="5648452"/>
            <a:ext cx="1589661" cy="732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60039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6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lide_Bra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BCA702-A6AA-B744-B623-54BA666B1F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701" y="207760"/>
            <a:ext cx="11064241" cy="852297"/>
          </a:xfrm>
        </p:spPr>
        <p:txBody>
          <a:bodyPr lIns="0" tIns="0" rIns="0" bIns="0" anchor="b">
            <a:normAutofit/>
          </a:bodyPr>
          <a:lstStyle>
            <a:lvl1pPr>
              <a:defRPr sz="2400" b="1" i="0">
                <a:solidFill>
                  <a:schemeClr val="accent1"/>
                </a:solidFill>
                <a:latin typeface="+mj-lt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F24C6C-E305-244D-928F-26A78A3DF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64901" y="6463022"/>
            <a:ext cx="276497" cy="184666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fld id="{50620D76-24A1-FC40-9CC5-875E724E735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AD88553-F43B-9249-9948-DDE5A76D0D9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1702" y="6509189"/>
            <a:ext cx="9056980" cy="138499"/>
          </a:xfrm>
        </p:spPr>
        <p:txBody>
          <a:bodyPr wrap="square" lIns="0" tIns="0" rIns="0" bIns="0" anchor="b">
            <a:spAutoFit/>
          </a:bodyPr>
          <a:lstStyle>
            <a:lvl1pPr marL="0" indent="0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picture containing knife&#10;&#10;Description automatically generated">
            <a:extLst>
              <a:ext uri="{FF2B5EF4-FFF2-40B4-BE49-F238E27FC236}">
                <a16:creationId xmlns:a16="http://schemas.microsoft.com/office/drawing/2014/main" id="{87842DD8-E6C3-5E41-9B44-0904DBF7B9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625942" y="-7382"/>
            <a:ext cx="567763" cy="1523402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3F5CC585-BEA8-314F-A40F-F6C167DB0C0C}"/>
              </a:ext>
            </a:extLst>
          </p:cNvPr>
          <p:cNvCxnSpPr>
            <a:cxnSpLocks/>
          </p:cNvCxnSpPr>
          <p:nvPr userDrawn="1"/>
        </p:nvCxnSpPr>
        <p:spPr>
          <a:xfrm>
            <a:off x="561701" y="1127526"/>
            <a:ext cx="1173320" cy="0"/>
          </a:xfrm>
          <a:prstGeom prst="line">
            <a:avLst/>
          </a:prstGeom>
          <a:ln w="2540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phic 9">
            <a:extLst>
              <a:ext uri="{FF2B5EF4-FFF2-40B4-BE49-F238E27FC236}">
                <a16:creationId xmlns:a16="http://schemas.microsoft.com/office/drawing/2014/main" id="{4B6625A0-B041-4358-8BA6-7CF939CC81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96409" y="6322411"/>
            <a:ext cx="1342196" cy="382048"/>
          </a:xfrm>
          <a:prstGeom prst="rect">
            <a:avLst/>
          </a:prstGeom>
        </p:spPr>
      </p:pic>
      <p:pic>
        <p:nvPicPr>
          <p:cNvPr id="13" name="Picture 12" descr="Text&#10;&#10;Description automatically generated">
            <a:extLst>
              <a:ext uri="{FF2B5EF4-FFF2-40B4-BE49-F238E27FC236}">
                <a16:creationId xmlns:a16="http://schemas.microsoft.com/office/drawing/2014/main" id="{D9051013-0F2E-4741-9FAB-9E23FD055D6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0637" y="5648452"/>
            <a:ext cx="1589661" cy="732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65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F24C6C-E305-244D-928F-26A78A3DFE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764901" y="6463022"/>
            <a:ext cx="276497" cy="184666"/>
          </a:xfrm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accent4"/>
                </a:solidFill>
              </a:defRPr>
            </a:lvl1pPr>
          </a:lstStyle>
          <a:p>
            <a:fld id="{50620D76-24A1-FC40-9CC5-875E724E735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402D3A5-C8AC-40D4-80E1-262CD32BBB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196409" y="6322411"/>
            <a:ext cx="1342196" cy="382048"/>
          </a:xfrm>
          <a:prstGeom prst="rect">
            <a:avLst/>
          </a:prstGeom>
        </p:spPr>
      </p:pic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42EE95E4-0732-4D03-8709-C17ED4892E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0637" y="5648452"/>
            <a:ext cx="1589661" cy="7328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3075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3056188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object, lamp, light&#10;&#10;Description automatically generated">
            <a:extLst>
              <a:ext uri="{FF2B5EF4-FFF2-40B4-BE49-F238E27FC236}">
                <a16:creationId xmlns:a16="http://schemas.microsoft.com/office/drawing/2014/main" id="{8A8AAFDA-FB68-5543-AA7B-A288DDDED0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417" t="26452"/>
          <a:stretch/>
        </p:blipFill>
        <p:spPr>
          <a:xfrm>
            <a:off x="0" y="0"/>
            <a:ext cx="7051054" cy="567592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6AD3546-9610-9E4A-8BDD-E2E6648FD1A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9721" y="1522752"/>
            <a:ext cx="4671827" cy="2149274"/>
          </a:xfrm>
        </p:spPr>
        <p:txBody>
          <a:bodyPr anchor="b">
            <a:normAutofit/>
          </a:bodyPr>
          <a:lstStyle>
            <a:lvl1pPr algn="l">
              <a:defRPr sz="2800" b="1" i="0">
                <a:solidFill>
                  <a:schemeClr val="accent1"/>
                </a:solidFill>
                <a:latin typeface="+mn-lt"/>
                <a:cs typeface="Arial Black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BB20CB3-3FFE-5C49-833D-0B39A2F35A8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89721" y="3873195"/>
            <a:ext cx="4671827" cy="873868"/>
          </a:xfr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29265F-C34B-4253-A7FB-F489AB624107}"/>
              </a:ext>
            </a:extLst>
          </p:cNvPr>
          <p:cNvSpPr txBox="1"/>
          <p:nvPr userDrawn="1"/>
        </p:nvSpPr>
        <p:spPr>
          <a:xfrm>
            <a:off x="589721" y="5638799"/>
            <a:ext cx="596498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000">
                <a:solidFill>
                  <a:schemeClr val="tx2"/>
                </a:solidFill>
              </a:rPr>
              <a:t>Sobi and </a:t>
            </a:r>
            <a:r>
              <a:rPr lang="en-US" sz="1000" err="1">
                <a:solidFill>
                  <a:schemeClr val="tx2"/>
                </a:solidFill>
              </a:rPr>
              <a:t>Aspaveli</a:t>
            </a:r>
            <a:r>
              <a:rPr lang="en-US" sz="1000">
                <a:solidFill>
                  <a:schemeClr val="tx2"/>
                </a:solidFill>
              </a:rPr>
              <a:t> are trademarks of Swedish Orphan </a:t>
            </a:r>
            <a:r>
              <a:rPr lang="en-US" sz="1000" err="1">
                <a:solidFill>
                  <a:schemeClr val="tx2"/>
                </a:solidFill>
              </a:rPr>
              <a:t>Biovitrum</a:t>
            </a:r>
            <a:r>
              <a:rPr lang="en-US" sz="1000">
                <a:solidFill>
                  <a:schemeClr val="tx2"/>
                </a:solidFill>
              </a:rPr>
              <a:t> AB (</a:t>
            </a:r>
            <a:r>
              <a:rPr lang="en-US" sz="1000" err="1">
                <a:solidFill>
                  <a:schemeClr val="tx2"/>
                </a:solidFill>
              </a:rPr>
              <a:t>publ</a:t>
            </a:r>
            <a:r>
              <a:rPr lang="en-US" sz="1000">
                <a:solidFill>
                  <a:schemeClr val="tx2"/>
                </a:solidFill>
              </a:rPr>
              <a:t>).</a:t>
            </a:r>
          </a:p>
          <a:p>
            <a:pPr lvl="0"/>
            <a:r>
              <a:rPr lang="en-US" sz="1000">
                <a:solidFill>
                  <a:schemeClr val="tx2"/>
                </a:solidFill>
              </a:rPr>
              <a:t>© 2021 Swedish Orphan </a:t>
            </a:r>
            <a:r>
              <a:rPr lang="en-US" sz="1000" err="1">
                <a:solidFill>
                  <a:schemeClr val="tx2"/>
                </a:solidFill>
              </a:rPr>
              <a:t>Biovitrum</a:t>
            </a:r>
            <a:r>
              <a:rPr lang="en-US" sz="1000">
                <a:solidFill>
                  <a:schemeClr val="tx2"/>
                </a:solidFill>
              </a:rPr>
              <a:t> AB (</a:t>
            </a:r>
            <a:r>
              <a:rPr lang="en-US" sz="1000" err="1">
                <a:solidFill>
                  <a:schemeClr val="tx2"/>
                </a:solidFill>
              </a:rPr>
              <a:t>publ</a:t>
            </a:r>
            <a:r>
              <a:rPr lang="en-US" sz="1000">
                <a:solidFill>
                  <a:schemeClr val="tx2"/>
                </a:solidFill>
              </a:rPr>
              <a:t>) – All rights reserved.</a:t>
            </a:r>
          </a:p>
          <a:p>
            <a:pPr lvl="0"/>
            <a:r>
              <a:rPr lang="en-US" sz="1000">
                <a:solidFill>
                  <a:schemeClr val="tx2"/>
                </a:solidFill>
              </a:rPr>
              <a:t>Swedish Orphan </a:t>
            </a:r>
            <a:r>
              <a:rPr lang="en-US" sz="1000" err="1">
                <a:solidFill>
                  <a:schemeClr val="tx2"/>
                </a:solidFill>
              </a:rPr>
              <a:t>Biovitrum</a:t>
            </a:r>
            <a:r>
              <a:rPr lang="en-US" sz="1000">
                <a:solidFill>
                  <a:schemeClr val="tx2"/>
                </a:solidFill>
              </a:rPr>
              <a:t> AB (</a:t>
            </a:r>
            <a:r>
              <a:rPr lang="en-US" sz="1000" err="1">
                <a:solidFill>
                  <a:schemeClr val="tx2"/>
                </a:solidFill>
              </a:rPr>
              <a:t>publ</a:t>
            </a:r>
            <a:r>
              <a:rPr lang="en-US" sz="1000">
                <a:solidFill>
                  <a:schemeClr val="tx2"/>
                </a:solidFill>
              </a:rPr>
              <a:t>)</a:t>
            </a:r>
          </a:p>
          <a:p>
            <a:pPr lvl="0"/>
            <a:r>
              <a:rPr lang="en-US" sz="1000">
                <a:solidFill>
                  <a:schemeClr val="tx2"/>
                </a:solidFill>
              </a:rPr>
              <a:t>SE-112 76 Stockholm • Sweden </a:t>
            </a:r>
          </a:p>
          <a:p>
            <a:pPr lvl="0"/>
            <a:r>
              <a:rPr lang="en-US" sz="1000" err="1">
                <a:solidFill>
                  <a:schemeClr val="tx2"/>
                </a:solidFill>
              </a:rPr>
              <a:t>www.sobi.com</a:t>
            </a:r>
            <a:endParaRPr lang="en-US" sz="1000">
              <a:solidFill>
                <a:schemeClr val="tx2"/>
              </a:solidFill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4885B972-62D4-4E22-866C-D8C19A856EF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16744" y="631371"/>
            <a:ext cx="1689803" cy="506065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3F2A3F67-C5C1-4F24-B2AA-10695A3838D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35119" y="6022700"/>
            <a:ext cx="2299669" cy="654587"/>
          </a:xfrm>
          <a:prstGeom prst="rect">
            <a:avLst/>
          </a:prstGeom>
        </p:spPr>
      </p:pic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ABF611E1-2FBA-4E1B-A577-545AF492501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51054" y="5722183"/>
            <a:ext cx="2628000" cy="1211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7874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3600">
          <p15:clr>
            <a:srgbClr val="FBAE40"/>
          </p15:clr>
        </p15:guide>
        <p15:guide id="4" orient="horz" pos="403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8789D39F-20C3-9641-9981-45A72744C859}"/>
              </a:ext>
            </a:extLst>
          </p:cNvPr>
          <p:cNvSpPr/>
          <p:nvPr userDrawn="1"/>
        </p:nvSpPr>
        <p:spPr>
          <a:xfrm>
            <a:off x="7890933" y="918716"/>
            <a:ext cx="4301067" cy="5020568"/>
          </a:xfrm>
          <a:custGeom>
            <a:avLst/>
            <a:gdLst>
              <a:gd name="connsiteX0" fmla="*/ 2510284 w 4301067"/>
              <a:gd name="connsiteY0" fmla="*/ 0 h 5020568"/>
              <a:gd name="connsiteX1" fmla="*/ 4285323 w 4301067"/>
              <a:gd name="connsiteY1" fmla="*/ 735245 h 5020568"/>
              <a:gd name="connsiteX2" fmla="*/ 4301067 w 4301067"/>
              <a:gd name="connsiteY2" fmla="*/ 752568 h 5020568"/>
              <a:gd name="connsiteX3" fmla="*/ 4301067 w 4301067"/>
              <a:gd name="connsiteY3" fmla="*/ 4268001 h 5020568"/>
              <a:gd name="connsiteX4" fmla="*/ 4285323 w 4301067"/>
              <a:gd name="connsiteY4" fmla="*/ 4285323 h 5020568"/>
              <a:gd name="connsiteX5" fmla="*/ 2510284 w 4301067"/>
              <a:gd name="connsiteY5" fmla="*/ 5020568 h 5020568"/>
              <a:gd name="connsiteX6" fmla="*/ 0 w 4301067"/>
              <a:gd name="connsiteY6" fmla="*/ 2510284 h 5020568"/>
              <a:gd name="connsiteX7" fmla="*/ 2510284 w 4301067"/>
              <a:gd name="connsiteY7" fmla="*/ 0 h 5020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01067" h="5020568">
                <a:moveTo>
                  <a:pt x="2510284" y="0"/>
                </a:moveTo>
                <a:cubicBezTo>
                  <a:pt x="3203480" y="0"/>
                  <a:pt x="3831051" y="280973"/>
                  <a:pt x="4285323" y="735245"/>
                </a:cubicBezTo>
                <a:lnTo>
                  <a:pt x="4301067" y="752568"/>
                </a:lnTo>
                <a:lnTo>
                  <a:pt x="4301067" y="4268001"/>
                </a:lnTo>
                <a:lnTo>
                  <a:pt x="4285323" y="4285323"/>
                </a:lnTo>
                <a:cubicBezTo>
                  <a:pt x="3831051" y="4739595"/>
                  <a:pt x="3203480" y="5020568"/>
                  <a:pt x="2510284" y="5020568"/>
                </a:cubicBezTo>
                <a:cubicBezTo>
                  <a:pt x="1123892" y="5020568"/>
                  <a:pt x="0" y="3896676"/>
                  <a:pt x="0" y="2510284"/>
                </a:cubicBezTo>
                <a:cubicBezTo>
                  <a:pt x="0" y="1123892"/>
                  <a:pt x="1123892" y="0"/>
                  <a:pt x="2510284" y="0"/>
                </a:cubicBez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626534"/>
            <a:ext cx="6636808" cy="2099735"/>
          </a:xfrm>
        </p:spPr>
        <p:txBody>
          <a:bodyPr anchor="b"/>
          <a:lstStyle>
            <a:lvl1pPr algn="l">
              <a:defRPr sz="4000" b="1" spc="50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2B2B1A-532E-A74C-A004-E0588BDBBE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3602038"/>
            <a:ext cx="6636808" cy="1655762"/>
          </a:xfrm>
        </p:spPr>
        <p:txBody>
          <a:bodyPr/>
          <a:lstStyle>
            <a:lvl1pPr marL="0" indent="0" algn="l">
              <a:buNone/>
              <a:defRPr sz="2400" spc="50" baseline="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BCC42E6-7B72-3643-9C1E-E5C22ECD1F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18176" y="3031149"/>
            <a:ext cx="2494890" cy="795784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DD02BE9-E11E-2E41-B2AF-602629549C92}"/>
              </a:ext>
            </a:extLst>
          </p:cNvPr>
          <p:cNvCxnSpPr>
            <a:cxnSpLocks/>
          </p:cNvCxnSpPr>
          <p:nvPr userDrawn="1"/>
        </p:nvCxnSpPr>
        <p:spPr>
          <a:xfrm>
            <a:off x="0" y="3208956"/>
            <a:ext cx="6410227" cy="7620"/>
          </a:xfrm>
          <a:prstGeom prst="line">
            <a:avLst/>
          </a:prstGeom>
          <a:ln w="38100" cap="rnd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DE73A867-6672-DE42-86F2-7CF7B7D3C70E}"/>
              </a:ext>
            </a:extLst>
          </p:cNvPr>
          <p:cNvSpPr>
            <a:spLocks noChangeAspect="1"/>
          </p:cNvSpPr>
          <p:nvPr userDrawn="1"/>
        </p:nvSpPr>
        <p:spPr>
          <a:xfrm>
            <a:off x="645156" y="3157902"/>
            <a:ext cx="109728" cy="109728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B65BE37-A289-4F0E-B70C-56A5A541970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3" y="5386942"/>
            <a:ext cx="2459921" cy="340982"/>
          </a:xfrm>
        </p:spPr>
        <p:txBody>
          <a:bodyPr wrap="square" tIns="36000" rIns="0" bIns="36000">
            <a:spAutoFit/>
          </a:bodyPr>
          <a:lstStyle>
            <a:lvl1pPr marL="0" indent="0">
              <a:buNone/>
              <a:defRPr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[DATE]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806893E4-88E4-4545-834E-29922EED192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695325" y="6306922"/>
            <a:ext cx="4829175" cy="365125"/>
          </a:xfr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CONFIDENTIAL. FOR INTERNAL TRAINING USE ONLY.</a:t>
            </a:r>
          </a:p>
        </p:txBody>
      </p:sp>
    </p:spTree>
    <p:extLst>
      <p:ext uri="{BB962C8B-B14F-4D97-AF65-F5344CB8AC3E}">
        <p14:creationId xmlns:p14="http://schemas.microsoft.com/office/powerpoint/2010/main" val="171059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2DDD6168-6EE1-A449-BF2C-D62046AA47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24928" y="-136811"/>
            <a:ext cx="1400619" cy="1336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902835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5CD1884-86A5-9B4E-B10C-658333FD07F0}"/>
              </a:ext>
            </a:extLst>
          </p:cNvPr>
          <p:cNvSpPr/>
          <p:nvPr userDrawn="1"/>
        </p:nvSpPr>
        <p:spPr>
          <a:xfrm>
            <a:off x="0" y="-3142"/>
            <a:ext cx="12192000" cy="6861142"/>
          </a:xfrm>
          <a:prstGeom prst="rect">
            <a:avLst/>
          </a:prstGeom>
          <a:gradFill>
            <a:gsLst>
              <a:gs pos="87000">
                <a:schemeClr val="accent2"/>
              </a:gs>
              <a:gs pos="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945466" y="1287507"/>
            <a:ext cx="6773333" cy="2099735"/>
          </a:xfrm>
        </p:spPr>
        <p:txBody>
          <a:bodyPr anchor="b"/>
          <a:lstStyle>
            <a:lvl1pPr algn="l">
              <a:defRPr sz="4000" b="1" spc="5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2B2B1A-532E-A74C-A004-E0588BDBBE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45466" y="3763931"/>
            <a:ext cx="6773333" cy="1655762"/>
          </a:xfrm>
        </p:spPr>
        <p:txBody>
          <a:bodyPr/>
          <a:lstStyle>
            <a:lvl1pPr marL="0" indent="0" algn="l">
              <a:buNone/>
              <a:defRPr sz="2400" spc="5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06E01A-7715-0F48-86DA-B6315AFF342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945466" y="5524624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600" b="1" spc="50" baseline="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138586C7-2437-1943-BA57-779054889250}"/>
              </a:ext>
            </a:extLst>
          </p:cNvPr>
          <p:cNvGrpSpPr/>
          <p:nvPr userDrawn="1"/>
        </p:nvGrpSpPr>
        <p:grpSpPr>
          <a:xfrm>
            <a:off x="1051636" y="-1025950"/>
            <a:ext cx="2045616" cy="8893406"/>
            <a:chOff x="1051636" y="-1025950"/>
            <a:chExt cx="2045616" cy="8893406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624BFE0E-1C42-3E41-ABBC-5B86B89B9583}"/>
                </a:ext>
              </a:extLst>
            </p:cNvPr>
            <p:cNvSpPr/>
            <p:nvPr userDrawn="1"/>
          </p:nvSpPr>
          <p:spPr>
            <a:xfrm>
              <a:off x="1051636" y="2403835"/>
              <a:ext cx="2045616" cy="204561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285FEF02-743E-1145-9275-270F9AB46CB7}"/>
                </a:ext>
              </a:extLst>
            </p:cNvPr>
            <p:cNvSpPr/>
            <p:nvPr userDrawn="1"/>
          </p:nvSpPr>
          <p:spPr>
            <a:xfrm>
              <a:off x="1051636" y="4121085"/>
              <a:ext cx="2045616" cy="204561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FAD4DC4-9820-7C43-BC65-A3AA13C2D793}"/>
                </a:ext>
              </a:extLst>
            </p:cNvPr>
            <p:cNvSpPr/>
            <p:nvPr userDrawn="1"/>
          </p:nvSpPr>
          <p:spPr>
            <a:xfrm>
              <a:off x="1051636" y="5821840"/>
              <a:ext cx="2045616" cy="204561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B8C8448B-AD71-C544-B658-4935A426C724}"/>
                </a:ext>
              </a:extLst>
            </p:cNvPr>
            <p:cNvSpPr/>
            <p:nvPr userDrawn="1"/>
          </p:nvSpPr>
          <p:spPr>
            <a:xfrm>
              <a:off x="1051636" y="-1025950"/>
              <a:ext cx="2045616" cy="204561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5F48A8C3-8531-2D4B-AFF5-BC414EDBA808}"/>
                </a:ext>
              </a:extLst>
            </p:cNvPr>
            <p:cNvSpPr/>
            <p:nvPr userDrawn="1"/>
          </p:nvSpPr>
          <p:spPr>
            <a:xfrm>
              <a:off x="1051636" y="708582"/>
              <a:ext cx="2045616" cy="2045616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93DC0316-3E72-8047-A816-7F22A680F3B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536534" y="1550819"/>
              <a:ext cx="1075820" cy="3489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26885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hapt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04827" y="1264484"/>
            <a:ext cx="6773333" cy="2099735"/>
          </a:xfrm>
        </p:spPr>
        <p:txBody>
          <a:bodyPr anchor="b"/>
          <a:lstStyle>
            <a:lvl1pPr algn="l">
              <a:defRPr sz="4000" b="1" baseline="0"/>
            </a:lvl1pPr>
          </a:lstStyle>
          <a:p>
            <a:r>
              <a:rPr lang="en-US" dirty="0"/>
              <a:t>CLICK TO EDIT CHAP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2B2B1A-532E-A74C-A004-E0588BDBBE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04827" y="3516977"/>
            <a:ext cx="6773333" cy="1655762"/>
          </a:xfrm>
        </p:spPr>
        <p:txBody>
          <a:bodyPr/>
          <a:lstStyle>
            <a:lvl1pPr marL="0" indent="0" algn="l">
              <a:buNone/>
              <a:defRPr sz="24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DD02BE9-E11E-2E41-B2AF-602629549C92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7854" y="1732316"/>
            <a:ext cx="0" cy="2967275"/>
          </a:xfrm>
          <a:prstGeom prst="line">
            <a:avLst/>
          </a:prstGeom>
          <a:ln w="381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DE73A867-6672-DE42-86F2-7CF7B7D3C70E}"/>
              </a:ext>
            </a:extLst>
          </p:cNvPr>
          <p:cNvSpPr>
            <a:spLocks noChangeAspect="1"/>
          </p:cNvSpPr>
          <p:nvPr userDrawn="1"/>
        </p:nvSpPr>
        <p:spPr>
          <a:xfrm>
            <a:off x="1112990" y="3161089"/>
            <a:ext cx="109728" cy="109728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D4C7E5C-B519-324B-ACBE-D01AC2EFF6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600" y="6140108"/>
            <a:ext cx="1075820" cy="348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553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hapt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5CD1884-86A5-9B4E-B10C-658333FD07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87000">
                <a:schemeClr val="accent2"/>
              </a:gs>
              <a:gs pos="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998132" y="1252068"/>
            <a:ext cx="6773333" cy="2099735"/>
          </a:xfrm>
        </p:spPr>
        <p:txBody>
          <a:bodyPr anchor="b"/>
          <a:lstStyle>
            <a:lvl1pPr algn="l"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CHAP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2B2B1A-532E-A74C-A004-E0588BDBBE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98132" y="3508360"/>
            <a:ext cx="6773333" cy="1655762"/>
          </a:xfrm>
        </p:spPr>
        <p:txBody>
          <a:bodyPr/>
          <a:lstStyle>
            <a:lvl1pPr marL="0" indent="0" algn="l">
              <a:buNone/>
              <a:defRPr sz="2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5C7B911-61EA-9242-B9F3-54A7FEF591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45161" y="6163731"/>
            <a:ext cx="1087327" cy="346820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68880D2-8F95-8940-9666-0972866FB29B}"/>
              </a:ext>
            </a:extLst>
          </p:cNvPr>
          <p:cNvCxnSpPr>
            <a:cxnSpLocks/>
          </p:cNvCxnSpPr>
          <p:nvPr userDrawn="1"/>
        </p:nvCxnSpPr>
        <p:spPr>
          <a:xfrm flipV="1">
            <a:off x="1167854" y="1732316"/>
            <a:ext cx="0" cy="2967275"/>
          </a:xfrm>
          <a:prstGeom prst="line">
            <a:avLst/>
          </a:prstGeom>
          <a:ln w="381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BE4A306F-7143-4344-9464-D33EE38AD921}"/>
              </a:ext>
            </a:extLst>
          </p:cNvPr>
          <p:cNvSpPr>
            <a:spLocks noChangeAspect="1"/>
          </p:cNvSpPr>
          <p:nvPr userDrawn="1"/>
        </p:nvSpPr>
        <p:spPr>
          <a:xfrm>
            <a:off x="1112990" y="3161089"/>
            <a:ext cx="109728" cy="109728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449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hapt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09281" y="1047667"/>
            <a:ext cx="6773333" cy="2099735"/>
          </a:xfrm>
        </p:spPr>
        <p:txBody>
          <a:bodyPr anchor="b"/>
          <a:lstStyle>
            <a:lvl1pPr algn="l">
              <a:defRPr sz="4000" b="1" baseline="0"/>
            </a:lvl1pPr>
          </a:lstStyle>
          <a:p>
            <a:r>
              <a:rPr lang="en-US" dirty="0"/>
              <a:t>CLICK TO EDIT CHAP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2B2B1A-532E-A74C-A004-E0588BDBBE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09281" y="3705513"/>
            <a:ext cx="6773333" cy="1655762"/>
          </a:xfrm>
        </p:spPr>
        <p:txBody>
          <a:bodyPr/>
          <a:lstStyle>
            <a:lvl1pPr marL="0" indent="0" algn="l">
              <a:buNone/>
              <a:defRPr sz="24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DD02BE9-E11E-2E41-B2AF-602629549C92}"/>
              </a:ext>
            </a:extLst>
          </p:cNvPr>
          <p:cNvCxnSpPr>
            <a:cxnSpLocks/>
          </p:cNvCxnSpPr>
          <p:nvPr userDrawn="1"/>
        </p:nvCxnSpPr>
        <p:spPr>
          <a:xfrm flipH="1">
            <a:off x="1205786" y="3388341"/>
            <a:ext cx="8763325" cy="0"/>
          </a:xfrm>
          <a:prstGeom prst="line">
            <a:avLst/>
          </a:prstGeom>
          <a:ln w="3175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Oval 11">
            <a:extLst>
              <a:ext uri="{FF2B5EF4-FFF2-40B4-BE49-F238E27FC236}">
                <a16:creationId xmlns:a16="http://schemas.microsoft.com/office/drawing/2014/main" id="{DE73A867-6672-DE42-86F2-7CF7B7D3C70E}"/>
              </a:ext>
            </a:extLst>
          </p:cNvPr>
          <p:cNvSpPr>
            <a:spLocks noChangeAspect="1"/>
          </p:cNvSpPr>
          <p:nvPr userDrawn="1"/>
        </p:nvSpPr>
        <p:spPr>
          <a:xfrm>
            <a:off x="9969111" y="3333477"/>
            <a:ext cx="109728" cy="109728"/>
          </a:xfrm>
          <a:prstGeom prst="ellipse">
            <a:avLst/>
          </a:prstGeom>
          <a:solidFill>
            <a:schemeClr val="bg1"/>
          </a:solidFill>
          <a:ln w="317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D4C7E5C-B519-324B-ACBE-D01AC2EFF6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600" y="6140108"/>
            <a:ext cx="1075820" cy="348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70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hapter Slide 4">
    <p:bg>
      <p:bgPr>
        <a:gradFill>
          <a:gsLst>
            <a:gs pos="87000">
              <a:schemeClr val="accent2"/>
            </a:gs>
            <a:gs pos="0">
              <a:schemeClr val="accent1"/>
            </a:gs>
          </a:gsLst>
          <a:lin ang="108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5CD1884-86A5-9B4E-B10C-658333FD07F0}"/>
              </a:ext>
            </a:extLst>
          </p:cNvPr>
          <p:cNvSpPr/>
          <p:nvPr userDrawn="1"/>
        </p:nvSpPr>
        <p:spPr>
          <a:xfrm>
            <a:off x="0" y="0"/>
            <a:ext cx="12192000" cy="6865591"/>
          </a:xfrm>
          <a:prstGeom prst="rect">
            <a:avLst/>
          </a:prstGeom>
          <a:gradFill>
            <a:gsLst>
              <a:gs pos="87000">
                <a:schemeClr val="accent2"/>
              </a:gs>
              <a:gs pos="0">
                <a:schemeClr val="accent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2D9F91-B45B-F641-A617-EE6908CFF5B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090364" y="1042841"/>
            <a:ext cx="6773333" cy="2099735"/>
          </a:xfrm>
        </p:spPr>
        <p:txBody>
          <a:bodyPr lIns="36000" anchor="b"/>
          <a:lstStyle>
            <a:lvl1pPr algn="l">
              <a:defRPr sz="4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CHAP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2B2B1A-532E-A74C-A004-E0588BDBBE6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90364" y="3725336"/>
            <a:ext cx="6773333" cy="1655762"/>
          </a:xfrm>
        </p:spPr>
        <p:txBody>
          <a:bodyPr/>
          <a:lstStyle>
            <a:lvl1pPr marL="0" indent="0" algn="l">
              <a:buNone/>
              <a:defRPr sz="24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5C7B911-61EA-9242-B9F3-54A7FEF5917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45161" y="6163731"/>
            <a:ext cx="1087327" cy="346820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68880D2-8F95-8940-9666-0972866FB29B}"/>
              </a:ext>
            </a:extLst>
          </p:cNvPr>
          <p:cNvCxnSpPr>
            <a:cxnSpLocks/>
          </p:cNvCxnSpPr>
          <p:nvPr userDrawn="1"/>
        </p:nvCxnSpPr>
        <p:spPr>
          <a:xfrm flipH="1">
            <a:off x="1167854" y="3386832"/>
            <a:ext cx="8788946" cy="1"/>
          </a:xfrm>
          <a:prstGeom prst="line">
            <a:avLst/>
          </a:prstGeom>
          <a:ln w="3175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BE4A306F-7143-4344-9464-D33EE38AD921}"/>
              </a:ext>
            </a:extLst>
          </p:cNvPr>
          <p:cNvSpPr>
            <a:spLocks noChangeAspect="1"/>
          </p:cNvSpPr>
          <p:nvPr userDrawn="1"/>
        </p:nvSpPr>
        <p:spPr>
          <a:xfrm>
            <a:off x="9947809" y="3331968"/>
            <a:ext cx="109728" cy="109728"/>
          </a:xfrm>
          <a:prstGeom prst="ellipse">
            <a:avLst/>
          </a:prstGeom>
          <a:solidFill>
            <a:schemeClr val="accent1"/>
          </a:solidFill>
          <a:ln w="317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6D5A71B-F28A-4153-B08F-DD5CE4812F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90364" y="6343651"/>
            <a:ext cx="3922526" cy="29166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pc="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. FOR INTERNAL TRAINING USE ONLY.</a:t>
            </a:r>
          </a:p>
        </p:txBody>
      </p:sp>
    </p:spTree>
    <p:extLst>
      <p:ext uri="{BB962C8B-B14F-4D97-AF65-F5344CB8AC3E}">
        <p14:creationId xmlns:p14="http://schemas.microsoft.com/office/powerpoint/2010/main" val="4170691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3D94C8-89E4-4511-A974-0E03C7C5DC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CC501F-FF8B-48D6-B003-8F67898389D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 l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. FOR INTERNAL TRAINING USE ONLY.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256C637-381B-400E-AD9D-9B60D1BE1A5A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5471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C98D95-EAEA-2940-9E26-CFC90BC9AB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4" y="1553272"/>
            <a:ext cx="5248276" cy="3818828"/>
          </a:xfrm>
        </p:spPr>
        <p:txBody>
          <a:bodyPr/>
          <a:lstStyle>
            <a:lvl1pPr>
              <a:defRPr baseline="0"/>
            </a:lvl1pPr>
            <a:lvl2pPr marL="685800" indent="-228600">
              <a:buFont typeface="System Font Regular"/>
              <a:buChar char="—"/>
              <a:defRPr baseline="0"/>
            </a:lvl2pPr>
            <a:lvl3pPr>
              <a:defRPr baseline="0"/>
            </a:lvl3pPr>
            <a:lvl4pPr marL="1600200" indent="-228600">
              <a:buFont typeface="System Font Regular"/>
              <a:buChar char="—"/>
              <a:defRPr baseline="0"/>
            </a:lvl4pPr>
            <a:lvl5pPr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9EDF3-25BB-DD4D-9DB1-F7AFD6B77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. FOR INTERNAL TRAINING USE ONLY.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06F0832-81AF-2A42-AE9B-DDCEF995A5BB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435595" y="1553272"/>
            <a:ext cx="5061080" cy="3818828"/>
          </a:xfrm>
        </p:spPr>
        <p:txBody>
          <a:bodyPr/>
          <a:lstStyle>
            <a:lvl1pPr>
              <a:defRPr baseline="0"/>
            </a:lvl1pPr>
            <a:lvl2pPr marL="685800" indent="-228600">
              <a:buFont typeface="System Font Regular"/>
              <a:buChar char="—"/>
              <a:defRPr baseline="0"/>
            </a:lvl2pPr>
            <a:lvl3pPr>
              <a:defRPr baseline="0"/>
            </a:lvl3pPr>
            <a:lvl4pPr marL="1600200" indent="-228600">
              <a:buFont typeface="System Font Regular"/>
              <a:buChar char="—"/>
              <a:defRPr baseline="0"/>
            </a:lvl4pPr>
            <a:lvl5pPr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6B8D48A-229A-4AB5-B056-BC23E74EA3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2193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C98D95-EAEA-2940-9E26-CFC90BC9AB4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9174" y="1553272"/>
            <a:ext cx="3435610" cy="4351338"/>
          </a:xfrm>
        </p:spPr>
        <p:txBody>
          <a:bodyPr/>
          <a:lstStyle>
            <a:lvl1pPr marL="0" indent="0" algn="ctr">
              <a:buNone/>
              <a:defRPr baseline="0"/>
            </a:lvl1pPr>
            <a:lvl2pPr marL="457200" indent="0" algn="ctr">
              <a:buFont typeface="System Font Regular"/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Font typeface="System Font Regular"/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9EDF3-25BB-DD4D-9DB1-F7AFD6B77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. FOR INTERNAL TRAINING USE ONLY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5176A29-C5E9-CD42-AF8B-3EE682E17E7E}"/>
              </a:ext>
            </a:extLst>
          </p:cNvPr>
          <p:cNvCxnSpPr>
            <a:cxnSpLocks/>
          </p:cNvCxnSpPr>
          <p:nvPr userDrawn="1"/>
        </p:nvCxnSpPr>
        <p:spPr>
          <a:xfrm flipV="1">
            <a:off x="4249413" y="1614960"/>
            <a:ext cx="0" cy="3957165"/>
          </a:xfrm>
          <a:prstGeom prst="line">
            <a:avLst/>
          </a:prstGeom>
          <a:ln w="254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D01B2273-A38F-E94A-AD48-B186EE93E6F0}"/>
              </a:ext>
            </a:extLst>
          </p:cNvPr>
          <p:cNvSpPr>
            <a:spLocks noChangeAspect="1"/>
          </p:cNvSpPr>
          <p:nvPr userDrawn="1"/>
        </p:nvSpPr>
        <p:spPr>
          <a:xfrm>
            <a:off x="4203693" y="3547822"/>
            <a:ext cx="91440" cy="9144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77584E-B5C6-2D45-93D5-DE30EAB04470}"/>
              </a:ext>
            </a:extLst>
          </p:cNvPr>
          <p:cNvCxnSpPr>
            <a:cxnSpLocks/>
          </p:cNvCxnSpPr>
          <p:nvPr userDrawn="1"/>
        </p:nvCxnSpPr>
        <p:spPr>
          <a:xfrm flipV="1">
            <a:off x="8233436" y="1630037"/>
            <a:ext cx="0" cy="3957165"/>
          </a:xfrm>
          <a:prstGeom prst="line">
            <a:avLst/>
          </a:prstGeom>
          <a:ln w="254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EA8E57C5-E6C2-8F4A-882B-5ACBFD592673}"/>
              </a:ext>
            </a:extLst>
          </p:cNvPr>
          <p:cNvSpPr>
            <a:spLocks noChangeAspect="1"/>
          </p:cNvSpPr>
          <p:nvPr userDrawn="1"/>
        </p:nvSpPr>
        <p:spPr>
          <a:xfrm>
            <a:off x="8187716" y="3562899"/>
            <a:ext cx="91440" cy="9144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AFB88B7-07B3-FE4C-9BB3-7FDE5402CA43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513465" y="1534200"/>
            <a:ext cx="3435610" cy="4351338"/>
          </a:xfrm>
        </p:spPr>
        <p:txBody>
          <a:bodyPr/>
          <a:lstStyle>
            <a:lvl1pPr marL="0" indent="0" algn="ctr">
              <a:buNone/>
              <a:defRPr baseline="0"/>
            </a:lvl1pPr>
            <a:lvl2pPr marL="457200" indent="0" algn="ctr">
              <a:buFont typeface="System Font Regular"/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Font typeface="System Font Regular"/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62CB780-FE89-A241-9D1B-4EB430F5DCE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480625" y="1553272"/>
            <a:ext cx="3435610" cy="4351338"/>
          </a:xfrm>
        </p:spPr>
        <p:txBody>
          <a:bodyPr/>
          <a:lstStyle>
            <a:lvl1pPr marL="0" indent="0" algn="ctr">
              <a:buNone/>
              <a:defRPr baseline="0"/>
            </a:lvl1pPr>
            <a:lvl2pPr marL="457200" indent="0" algn="ctr">
              <a:buFont typeface="System Font Regular"/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Font typeface="System Font Regular"/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B023CA-73AA-4100-9F01-644236C8EB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2301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AF77DB-5D53-C445-A3E4-4BAD1DC4A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B6844-FF07-3D4F-BFE1-E751B8CFFF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. FOR INTERNAL TRAINING USE ONLY.</a:t>
            </a:r>
          </a:p>
        </p:txBody>
      </p:sp>
    </p:spTree>
    <p:extLst>
      <p:ext uri="{BB962C8B-B14F-4D97-AF65-F5344CB8AC3E}">
        <p14:creationId xmlns:p14="http://schemas.microsoft.com/office/powerpoint/2010/main" val="3688898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07887B7-A0A0-3F44-9ED6-868889759C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. FOR INTERNAL TRAINING USE ONLY.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B8B0B49-4C87-9446-B7CE-E9156E044172}"/>
              </a:ext>
            </a:extLst>
          </p:cNvPr>
          <p:cNvSpPr/>
          <p:nvPr userDrawn="1"/>
        </p:nvSpPr>
        <p:spPr>
          <a:xfrm>
            <a:off x="186267" y="982133"/>
            <a:ext cx="12005733" cy="355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35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1022351"/>
            <a:ext cx="10363200" cy="1470025"/>
          </a:xfrm>
        </p:spPr>
        <p:txBody>
          <a:bodyPr anchor="b"/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80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0" y="3381375"/>
            <a:ext cx="85344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8427102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Patient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CE7E1C5-DBAF-E941-AD2A-27B6DCC43E64}"/>
              </a:ext>
            </a:extLst>
          </p:cNvPr>
          <p:cNvSpPr/>
          <p:nvPr userDrawn="1"/>
        </p:nvSpPr>
        <p:spPr>
          <a:xfrm>
            <a:off x="0" y="1233377"/>
            <a:ext cx="12191999" cy="4026935"/>
          </a:xfrm>
          <a:prstGeom prst="rect">
            <a:avLst/>
          </a:prstGeom>
          <a:solidFill>
            <a:schemeClr val="accent3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8132C2-7DE9-2743-B964-7BD5BFDC63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843" y="603955"/>
            <a:ext cx="5784115" cy="2852737"/>
          </a:xfrm>
        </p:spPr>
        <p:txBody>
          <a:bodyPr anchor="b"/>
          <a:lstStyle>
            <a:lvl1pPr>
              <a:defRPr sz="40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CHAP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B50CF9-FFF5-4441-B461-E314225B86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62843" y="3738860"/>
            <a:ext cx="5784115" cy="1500187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594A3CD-92F0-B143-8A64-695CA08733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600" y="6140108"/>
            <a:ext cx="1075820" cy="34891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BAE18710-66B6-1E4C-B0BB-605B80D822E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5878" y="984685"/>
            <a:ext cx="4690231" cy="4489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71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Pati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CE7E1C5-DBAF-E941-AD2A-27B6DCC43E64}"/>
              </a:ext>
            </a:extLst>
          </p:cNvPr>
          <p:cNvSpPr/>
          <p:nvPr userDrawn="1"/>
        </p:nvSpPr>
        <p:spPr>
          <a:xfrm>
            <a:off x="0" y="1"/>
            <a:ext cx="12191999" cy="6857998"/>
          </a:xfrm>
          <a:prstGeom prst="rect">
            <a:avLst/>
          </a:prstGeom>
          <a:solidFill>
            <a:schemeClr val="accent3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8132C2-7DE9-2743-B964-7BD5BFDC63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5911" y="740741"/>
            <a:ext cx="5784115" cy="2258754"/>
          </a:xfrm>
        </p:spPr>
        <p:txBody>
          <a:bodyPr anchor="b"/>
          <a:lstStyle>
            <a:lvl1pPr>
              <a:defRPr sz="40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CHAP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B50CF9-FFF5-4441-B461-E314225B86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5911" y="3230864"/>
            <a:ext cx="5784115" cy="1500187"/>
          </a:xfrm>
        </p:spPr>
        <p:txBody>
          <a:bodyPr/>
          <a:lstStyle>
            <a:lvl1pPr marL="0" indent="0">
              <a:buNone/>
              <a:defRPr sz="240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B02E791-5DDF-B446-B3F3-474CB73EECB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93067" y="6016449"/>
            <a:ext cx="1075820" cy="34891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E0AA2F5-3B44-3D49-BEFA-1CFBDCF3BD9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530763" y="389466"/>
            <a:ext cx="7661236" cy="6468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539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Patient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CE7E1C5-DBAF-E941-AD2A-27B6DCC43E64}"/>
              </a:ext>
            </a:extLst>
          </p:cNvPr>
          <p:cNvSpPr/>
          <p:nvPr userDrawn="1"/>
        </p:nvSpPr>
        <p:spPr>
          <a:xfrm>
            <a:off x="0" y="1216444"/>
            <a:ext cx="12191999" cy="402693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D8132C2-7DE9-2743-B964-7BD5BFDC63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843" y="603955"/>
            <a:ext cx="5784115" cy="2852737"/>
          </a:xfrm>
        </p:spPr>
        <p:txBody>
          <a:bodyPr anchor="b"/>
          <a:lstStyle>
            <a:lvl1pPr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CHAP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B50CF9-FFF5-4441-B461-E314225B86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62843" y="3738860"/>
            <a:ext cx="578411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594A3CD-92F0-B143-8A64-695CA08733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55600" y="6140108"/>
            <a:ext cx="1075820" cy="34891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918E660-B43B-784D-87EC-3229C3F109E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4417" y="891665"/>
            <a:ext cx="4594735" cy="459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475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1">
    <p:bg>
      <p:bgPr>
        <a:solidFill>
          <a:srgbClr val="F6F5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B23A878-9432-A743-9B08-4FDF33176B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587072" y="626532"/>
            <a:ext cx="6604928" cy="6231467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6B1B23C6-DB56-F943-A7BA-71B912C6CE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191307" y="5212170"/>
            <a:ext cx="3000693" cy="583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132C2-7DE9-2743-B964-7BD5BFDC63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4312" y="351275"/>
            <a:ext cx="6942273" cy="1325126"/>
          </a:xfrm>
        </p:spPr>
        <p:txBody>
          <a:bodyPr anchor="b">
            <a:normAutofit/>
          </a:bodyPr>
          <a:lstStyle>
            <a:lvl1pPr>
              <a:defRPr lang="en-US" sz="8000" b="1">
                <a:effectLst/>
              </a:defRPr>
            </a:lvl1pPr>
          </a:lstStyle>
          <a:p>
            <a:r>
              <a:rPr lang="en-US">
                <a:effectLst/>
              </a:rPr>
              <a:t>UNDAUNT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B50CF9-FFF5-4441-B461-E314225B86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8057" y="2255572"/>
            <a:ext cx="4721386" cy="150018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B02E791-5DDF-B446-B3F3-474CB73EECB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8056" y="5753009"/>
            <a:ext cx="1370824" cy="444592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FF4FEF2-10F4-6140-9C7E-082261CB96BB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9387759" y="5228928"/>
            <a:ext cx="2893830" cy="67984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4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ame, </a:t>
            </a:r>
          </a:p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87620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2">
    <p:bg>
      <p:bgPr>
        <a:solidFill>
          <a:srgbClr val="F6F5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25EED83-26E9-6E44-AF2D-D779F4C92A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511"/>
          <a:stretch/>
        </p:blipFill>
        <p:spPr>
          <a:xfrm>
            <a:off x="6124495" y="0"/>
            <a:ext cx="6067505" cy="6858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F796F491-20E6-454C-A289-03753EFE815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05763" y="4638011"/>
            <a:ext cx="3000693" cy="58346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D8132C2-7DE9-2743-B964-7BD5BFDC63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4313" y="457604"/>
            <a:ext cx="6429156" cy="2747525"/>
          </a:xfrm>
        </p:spPr>
        <p:txBody>
          <a:bodyPr anchor="b"/>
          <a:lstStyle>
            <a:lvl1pPr>
              <a:lnSpc>
                <a:spcPct val="85000"/>
              </a:lnSpc>
              <a:defRPr sz="6500" b="1" spc="100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B50CF9-FFF5-4441-B461-E314225B86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8057" y="3219890"/>
            <a:ext cx="4604427" cy="1500187"/>
          </a:xfrm>
        </p:spPr>
        <p:txBody>
          <a:bodyPr>
            <a:normAutofit/>
          </a:bodyPr>
          <a:lstStyle>
            <a:lvl1pPr marL="0" indent="0">
              <a:buNone/>
              <a:defRPr sz="22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B02E791-5DDF-B446-B3F3-474CB73EECB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8056" y="5753009"/>
            <a:ext cx="1370824" cy="444592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249F44E-9B85-6647-A769-9ADE48077CA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9403119" y="4647863"/>
            <a:ext cx="2893830" cy="67984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None/>
              <a:defRPr sz="1400" b="0" baseline="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Name, </a:t>
            </a:r>
          </a:p>
          <a:p>
            <a:pPr lvl="0"/>
            <a:r>
              <a:rPr lang="en-US" dirty="0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1040364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r Palette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9EDF3-25BB-DD4D-9DB1-F7AFD6B77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/>
              <a:t>CONFIDENTIAL. FOR INTERNAL TRAINING USE ONLY.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545226D-B5B3-2943-9F0F-F80BA5ABC1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7697" y="-16933"/>
            <a:ext cx="10515600" cy="100361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/>
              <a:t>Apellis full corporate color palette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A660BC-FD8A-0449-9747-B44204FB426D}"/>
              </a:ext>
            </a:extLst>
          </p:cNvPr>
          <p:cNvSpPr txBox="1"/>
          <p:nvPr userDrawn="1"/>
        </p:nvSpPr>
        <p:spPr>
          <a:xfrm>
            <a:off x="679190" y="1627703"/>
            <a:ext cx="106391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600" spc="50" baseline="0">
                <a:solidFill>
                  <a:schemeClr val="tx2"/>
                </a:solidFill>
              </a:rPr>
              <a:t>The corporate color palette has been expanded to include a broader range of warm, rich colors. The primary and secondary palettes are embedded in the template, but included here as reference.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F3BF5C1-D2CA-E94B-A335-7C964FE31701}"/>
              </a:ext>
            </a:extLst>
          </p:cNvPr>
          <p:cNvGrpSpPr/>
          <p:nvPr userDrawn="1"/>
        </p:nvGrpSpPr>
        <p:grpSpPr>
          <a:xfrm>
            <a:off x="679190" y="2448803"/>
            <a:ext cx="7158252" cy="1096401"/>
            <a:chOff x="679190" y="2157158"/>
            <a:chExt cx="7158252" cy="1096401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B56CA8E8-9442-1B4B-96ED-97E81D041263}"/>
                </a:ext>
              </a:extLst>
            </p:cNvPr>
            <p:cNvSpPr txBox="1"/>
            <p:nvPr userDrawn="1"/>
          </p:nvSpPr>
          <p:spPr>
            <a:xfrm>
              <a:off x="679190" y="2157158"/>
              <a:ext cx="2860158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en-US" sz="1100" b="1" spc="50" baseline="0">
                  <a:solidFill>
                    <a:schemeClr val="tx2"/>
                  </a:solidFill>
                </a:rPr>
                <a:t>PRIMARY</a:t>
              </a:r>
            </a:p>
            <a:p>
              <a:pPr lvl="0"/>
              <a:r>
                <a:rPr lang="en-US" sz="1100" spc="50" baseline="0">
                  <a:solidFill>
                    <a:schemeClr val="tx2"/>
                  </a:solidFill>
                </a:rPr>
                <a:t>Primary colors will continue to be orange and white, with the addition of a gradient orange to bring greater vibrancy and dimension to the palette.</a:t>
              </a: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2931A754-D7CD-C64A-9362-C59E1D9AAD77}"/>
                </a:ext>
              </a:extLst>
            </p:cNvPr>
            <p:cNvSpPr/>
            <p:nvPr userDrawn="1"/>
          </p:nvSpPr>
          <p:spPr>
            <a:xfrm>
              <a:off x="3944679" y="2157158"/>
              <a:ext cx="1096401" cy="109640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CA9F941F-74E5-ED40-9840-E8BC2483E7AA}"/>
                </a:ext>
              </a:extLst>
            </p:cNvPr>
            <p:cNvSpPr/>
            <p:nvPr userDrawn="1"/>
          </p:nvSpPr>
          <p:spPr>
            <a:xfrm>
              <a:off x="5342860" y="2157158"/>
              <a:ext cx="1096401" cy="1096401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6E90BF4-4C4A-4345-815A-ACCFA5F9FF4D}"/>
                </a:ext>
              </a:extLst>
            </p:cNvPr>
            <p:cNvSpPr/>
            <p:nvPr userDrawn="1"/>
          </p:nvSpPr>
          <p:spPr>
            <a:xfrm>
              <a:off x="6741041" y="2157158"/>
              <a:ext cx="1096401" cy="109640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63EE446-BDEE-B24D-9BDB-F1BE7875A910}"/>
              </a:ext>
            </a:extLst>
          </p:cNvPr>
          <p:cNvGrpSpPr/>
          <p:nvPr userDrawn="1"/>
        </p:nvGrpSpPr>
        <p:grpSpPr>
          <a:xfrm>
            <a:off x="679190" y="3775876"/>
            <a:ext cx="9469430" cy="1107996"/>
            <a:chOff x="679190" y="3475599"/>
            <a:chExt cx="9469430" cy="1107996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9A5CD40-E0C7-8445-B81D-0E033B62B893}"/>
                </a:ext>
              </a:extLst>
            </p:cNvPr>
            <p:cNvSpPr txBox="1"/>
            <p:nvPr userDrawn="1"/>
          </p:nvSpPr>
          <p:spPr>
            <a:xfrm>
              <a:off x="679190" y="3475599"/>
              <a:ext cx="2860158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en-US" sz="1100" b="1" spc="50" baseline="0">
                  <a:solidFill>
                    <a:schemeClr val="tx2"/>
                  </a:solidFill>
                </a:rPr>
                <a:t>SECONDARY</a:t>
              </a:r>
            </a:p>
            <a:p>
              <a:pPr lvl="0"/>
              <a:r>
                <a:rPr lang="en-US" sz="1100" spc="50" baseline="0">
                  <a:solidFill>
                    <a:schemeClr val="tx2"/>
                  </a:solidFill>
                </a:rPr>
                <a:t>Secondary colors are inspired by the primary orange, and will be used as a highlight. They include warm neutrals to provide needed balance and sophistication.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B08551D-DE28-8041-9204-67A497B4B7A3}"/>
                </a:ext>
              </a:extLst>
            </p:cNvPr>
            <p:cNvGrpSpPr/>
            <p:nvPr userDrawn="1"/>
          </p:nvGrpSpPr>
          <p:grpSpPr>
            <a:xfrm>
              <a:off x="4019112" y="3710850"/>
              <a:ext cx="6129508" cy="712059"/>
              <a:chOff x="4019112" y="3710850"/>
              <a:chExt cx="6129508" cy="712059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EA4D9F37-DA36-A642-9339-88D7F51FD4D9}"/>
                  </a:ext>
                </a:extLst>
              </p:cNvPr>
              <p:cNvSpPr/>
              <p:nvPr userDrawn="1"/>
            </p:nvSpPr>
            <p:spPr>
              <a:xfrm>
                <a:off x="4019112" y="3710850"/>
                <a:ext cx="712059" cy="71205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EBA84F86-5AF5-3F4C-BC4D-D24ABD0FD2DE}"/>
                  </a:ext>
                </a:extLst>
              </p:cNvPr>
              <p:cNvSpPr/>
              <p:nvPr userDrawn="1"/>
            </p:nvSpPr>
            <p:spPr>
              <a:xfrm>
                <a:off x="5102602" y="3710850"/>
                <a:ext cx="712059" cy="712059"/>
              </a:xfrm>
              <a:prstGeom prst="ellipse">
                <a:avLst/>
              </a:prstGeom>
              <a:solidFill>
                <a:srgbClr val="E85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7B190A2E-F9AB-8942-AB8D-A31BE9DEB693}"/>
                  </a:ext>
                </a:extLst>
              </p:cNvPr>
              <p:cNvSpPr/>
              <p:nvPr userDrawn="1"/>
            </p:nvSpPr>
            <p:spPr>
              <a:xfrm>
                <a:off x="6186092" y="3710850"/>
                <a:ext cx="712059" cy="712059"/>
              </a:xfrm>
              <a:prstGeom prst="ellipse">
                <a:avLst/>
              </a:prstGeom>
              <a:solidFill>
                <a:srgbClr val="FF9D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1A168BB9-B387-F24E-94FC-0F17A7F4C304}"/>
                  </a:ext>
                </a:extLst>
              </p:cNvPr>
              <p:cNvSpPr/>
              <p:nvPr userDrawn="1"/>
            </p:nvSpPr>
            <p:spPr>
              <a:xfrm>
                <a:off x="7269582" y="3710850"/>
                <a:ext cx="712059" cy="712059"/>
              </a:xfrm>
              <a:prstGeom prst="ellipse">
                <a:avLst/>
              </a:prstGeom>
              <a:solidFill>
                <a:srgbClr val="D8D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E38F03CF-8778-6146-804F-012A0EABEDBA}"/>
                  </a:ext>
                </a:extLst>
              </p:cNvPr>
              <p:cNvSpPr/>
              <p:nvPr userDrawn="1"/>
            </p:nvSpPr>
            <p:spPr>
              <a:xfrm>
                <a:off x="8353072" y="3710850"/>
                <a:ext cx="712059" cy="712059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6CFEC251-4859-5249-B0BC-D626F6523239}"/>
                  </a:ext>
                </a:extLst>
              </p:cNvPr>
              <p:cNvSpPr/>
              <p:nvPr userDrawn="1"/>
            </p:nvSpPr>
            <p:spPr>
              <a:xfrm>
                <a:off x="9436561" y="3710850"/>
                <a:ext cx="712059" cy="712059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0EAB191-3A3B-144B-8FAC-8EBABF17100C}"/>
              </a:ext>
            </a:extLst>
          </p:cNvPr>
          <p:cNvSpPr txBox="1"/>
          <p:nvPr userDrawn="1"/>
        </p:nvSpPr>
        <p:spPr>
          <a:xfrm>
            <a:off x="679190" y="5152897"/>
            <a:ext cx="2860158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100" b="1" spc="50" baseline="0">
                <a:solidFill>
                  <a:schemeClr val="tx2"/>
                </a:solidFill>
              </a:rPr>
              <a:t>TERTIARY</a:t>
            </a:r>
          </a:p>
          <a:p>
            <a:pPr lvl="0"/>
            <a:r>
              <a:rPr lang="en-US" sz="1100" spc="50" baseline="0">
                <a:solidFill>
                  <a:schemeClr val="tx2"/>
                </a:solidFill>
              </a:rPr>
              <a:t>Reserved primarily for charts, graphs and biologic illustrations, tertiary colors provide a breadth of consistent options to display key elements such as data.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ED64E3B-3BEB-3B41-8E8B-9C23638F315D}"/>
              </a:ext>
            </a:extLst>
          </p:cNvPr>
          <p:cNvGrpSpPr/>
          <p:nvPr userDrawn="1"/>
        </p:nvGrpSpPr>
        <p:grpSpPr>
          <a:xfrm>
            <a:off x="4125442" y="5282157"/>
            <a:ext cx="5245040" cy="477796"/>
            <a:chOff x="4125442" y="5040258"/>
            <a:chExt cx="5245040" cy="477796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C54C134-713A-D547-9624-09A9E8FA6E9D}"/>
                </a:ext>
              </a:extLst>
            </p:cNvPr>
            <p:cNvSpPr/>
            <p:nvPr userDrawn="1"/>
          </p:nvSpPr>
          <p:spPr>
            <a:xfrm>
              <a:off x="4125442" y="5040258"/>
              <a:ext cx="477796" cy="47779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13F483E4-CF1C-F640-A18B-81BBFB15D357}"/>
                </a:ext>
              </a:extLst>
            </p:cNvPr>
            <p:cNvSpPr/>
            <p:nvPr userDrawn="1"/>
          </p:nvSpPr>
          <p:spPr>
            <a:xfrm>
              <a:off x="4919983" y="5040258"/>
              <a:ext cx="477796" cy="477796"/>
            </a:xfrm>
            <a:prstGeom prst="ellipse">
              <a:avLst/>
            </a:prstGeom>
            <a:solidFill>
              <a:srgbClr val="F5E9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21217E7-6FA1-984A-AA2B-7A74912F5955}"/>
                </a:ext>
              </a:extLst>
            </p:cNvPr>
            <p:cNvSpPr/>
            <p:nvPr userDrawn="1"/>
          </p:nvSpPr>
          <p:spPr>
            <a:xfrm>
              <a:off x="5714524" y="5040258"/>
              <a:ext cx="477796" cy="477796"/>
            </a:xfrm>
            <a:prstGeom prst="ellipse">
              <a:avLst/>
            </a:prstGeom>
            <a:solidFill>
              <a:srgbClr val="C5D6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A65F133B-1F68-044A-989F-EDDD43619B61}"/>
                </a:ext>
              </a:extLst>
            </p:cNvPr>
            <p:cNvSpPr/>
            <p:nvPr userDrawn="1"/>
          </p:nvSpPr>
          <p:spPr>
            <a:xfrm>
              <a:off x="6509065" y="5040258"/>
              <a:ext cx="477796" cy="477796"/>
            </a:xfrm>
            <a:prstGeom prst="ellipse">
              <a:avLst/>
            </a:prstGeom>
            <a:solidFill>
              <a:srgbClr val="ABC4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CF76419-9F3A-3D45-B950-D149F1DF8B8E}"/>
                </a:ext>
              </a:extLst>
            </p:cNvPr>
            <p:cNvSpPr/>
            <p:nvPr userDrawn="1"/>
          </p:nvSpPr>
          <p:spPr>
            <a:xfrm>
              <a:off x="7303606" y="5040258"/>
              <a:ext cx="477796" cy="477796"/>
            </a:xfrm>
            <a:prstGeom prst="ellipse">
              <a:avLst/>
            </a:prstGeom>
            <a:solidFill>
              <a:srgbClr val="B8DD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729EB52-E947-D340-9A44-9AA413F0A608}"/>
                </a:ext>
              </a:extLst>
            </p:cNvPr>
            <p:cNvSpPr/>
            <p:nvPr userDrawn="1"/>
          </p:nvSpPr>
          <p:spPr>
            <a:xfrm>
              <a:off x="8892686" y="5040258"/>
              <a:ext cx="477796" cy="477796"/>
            </a:xfrm>
            <a:prstGeom prst="ellipse">
              <a:avLst/>
            </a:prstGeom>
            <a:solidFill>
              <a:srgbClr val="005E8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87C38C9E-19CE-454F-8D0B-796EB531D961}"/>
                </a:ext>
              </a:extLst>
            </p:cNvPr>
            <p:cNvSpPr/>
            <p:nvPr userDrawn="1"/>
          </p:nvSpPr>
          <p:spPr>
            <a:xfrm>
              <a:off x="8098147" y="5040258"/>
              <a:ext cx="477796" cy="477796"/>
            </a:xfrm>
            <a:prstGeom prst="ellipse">
              <a:avLst/>
            </a:prstGeom>
            <a:solidFill>
              <a:srgbClr val="6299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91212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C98D95-EAEA-2940-9E26-CFC90BC9AB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/>
            </a:lvl1pPr>
            <a:lvl2pPr marL="685800" indent="-228600">
              <a:buFont typeface="System Font Regular"/>
              <a:buChar char="—"/>
              <a:defRPr baseline="0"/>
            </a:lvl2pPr>
            <a:lvl3pPr>
              <a:defRPr baseline="0"/>
            </a:lvl3pPr>
            <a:lvl4pPr marL="1600200" indent="-228600">
              <a:buFont typeface="System Font Regular"/>
              <a:buChar char="—"/>
              <a:defRPr baseline="0"/>
            </a:lvl4pPr>
            <a:lvl5pPr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9EDF3-25BB-DD4D-9DB1-F7AFD6B77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545226D-B5B3-2943-9F0F-F80BA5ABC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7697" y="-16933"/>
            <a:ext cx="10515600" cy="100361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64954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C98D95-EAEA-2940-9E26-CFC90BC9AB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9190" y="1553272"/>
            <a:ext cx="5264410" cy="3818828"/>
          </a:xfrm>
        </p:spPr>
        <p:txBody>
          <a:bodyPr/>
          <a:lstStyle>
            <a:lvl1pPr>
              <a:defRPr baseline="0"/>
            </a:lvl1pPr>
            <a:lvl2pPr marL="685800" indent="-228600">
              <a:buFont typeface="System Font Regular"/>
              <a:buChar char="—"/>
              <a:defRPr baseline="0"/>
            </a:lvl2pPr>
            <a:lvl3pPr>
              <a:defRPr baseline="0"/>
            </a:lvl3pPr>
            <a:lvl4pPr marL="1600200" indent="-228600">
              <a:buFont typeface="System Font Regular"/>
              <a:buChar char="—"/>
              <a:defRPr baseline="0"/>
            </a:lvl4pPr>
            <a:lvl5pPr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9EDF3-25BB-DD4D-9DB1-F7AFD6B77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545226D-B5B3-2943-9F0F-F80BA5ABC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7697" y="-16933"/>
            <a:ext cx="10515600" cy="100361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06F0832-81AF-2A42-AE9B-DDCEF995A5BB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435595" y="1553272"/>
            <a:ext cx="5264410" cy="3818828"/>
          </a:xfrm>
        </p:spPr>
        <p:txBody>
          <a:bodyPr/>
          <a:lstStyle>
            <a:lvl1pPr>
              <a:defRPr baseline="0"/>
            </a:lvl1pPr>
            <a:lvl2pPr marL="685800" indent="-228600">
              <a:buFont typeface="System Font Regular"/>
              <a:buChar char="—"/>
              <a:defRPr baseline="0"/>
            </a:lvl2pPr>
            <a:lvl3pPr>
              <a:defRPr baseline="0"/>
            </a:lvl3pPr>
            <a:lvl4pPr marL="1600200" indent="-228600">
              <a:buFont typeface="System Font Regular"/>
              <a:buChar char="—"/>
              <a:defRPr baseline="0"/>
            </a:lvl4pPr>
            <a:lvl5pPr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3757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C98D95-EAEA-2940-9E26-CFC90BC9AB4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9174" y="1553272"/>
            <a:ext cx="3435610" cy="4351338"/>
          </a:xfrm>
        </p:spPr>
        <p:txBody>
          <a:bodyPr/>
          <a:lstStyle>
            <a:lvl1pPr marL="0" indent="0" algn="ctr">
              <a:buNone/>
              <a:defRPr baseline="0"/>
            </a:lvl1pPr>
            <a:lvl2pPr marL="457200" indent="0" algn="ctr">
              <a:buFont typeface="System Font Regular"/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Font typeface="System Font Regular"/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9EDF3-25BB-DD4D-9DB1-F7AFD6B77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545226D-B5B3-2943-9F0F-F80BA5ABC1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7697" y="-16933"/>
            <a:ext cx="10515600" cy="100361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5176A29-C5E9-CD42-AF8B-3EE682E17E7E}"/>
              </a:ext>
            </a:extLst>
          </p:cNvPr>
          <p:cNvCxnSpPr>
            <a:cxnSpLocks/>
          </p:cNvCxnSpPr>
          <p:nvPr userDrawn="1"/>
        </p:nvCxnSpPr>
        <p:spPr>
          <a:xfrm flipV="1">
            <a:off x="4249413" y="1614960"/>
            <a:ext cx="0" cy="3957165"/>
          </a:xfrm>
          <a:prstGeom prst="line">
            <a:avLst/>
          </a:prstGeom>
          <a:ln w="254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>
            <a:extLst>
              <a:ext uri="{FF2B5EF4-FFF2-40B4-BE49-F238E27FC236}">
                <a16:creationId xmlns:a16="http://schemas.microsoft.com/office/drawing/2014/main" id="{D01B2273-A38F-E94A-AD48-B186EE93E6F0}"/>
              </a:ext>
            </a:extLst>
          </p:cNvPr>
          <p:cNvSpPr>
            <a:spLocks noChangeAspect="1"/>
          </p:cNvSpPr>
          <p:nvPr userDrawn="1"/>
        </p:nvSpPr>
        <p:spPr>
          <a:xfrm>
            <a:off x="4203693" y="3547822"/>
            <a:ext cx="91440" cy="9144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077584E-B5C6-2D45-93D5-DE30EAB04470}"/>
              </a:ext>
            </a:extLst>
          </p:cNvPr>
          <p:cNvCxnSpPr>
            <a:cxnSpLocks/>
          </p:cNvCxnSpPr>
          <p:nvPr userDrawn="1"/>
        </p:nvCxnSpPr>
        <p:spPr>
          <a:xfrm flipV="1">
            <a:off x="8233436" y="1630037"/>
            <a:ext cx="0" cy="3957165"/>
          </a:xfrm>
          <a:prstGeom prst="line">
            <a:avLst/>
          </a:prstGeom>
          <a:ln w="25400" cap="rnd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val 10">
            <a:extLst>
              <a:ext uri="{FF2B5EF4-FFF2-40B4-BE49-F238E27FC236}">
                <a16:creationId xmlns:a16="http://schemas.microsoft.com/office/drawing/2014/main" id="{EA8E57C5-E6C2-8F4A-882B-5ACBFD592673}"/>
              </a:ext>
            </a:extLst>
          </p:cNvPr>
          <p:cNvSpPr>
            <a:spLocks noChangeAspect="1"/>
          </p:cNvSpPr>
          <p:nvPr userDrawn="1"/>
        </p:nvSpPr>
        <p:spPr>
          <a:xfrm>
            <a:off x="8187716" y="3562899"/>
            <a:ext cx="91440" cy="91440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FAFB88B7-07B3-FE4C-9BB3-7FDE5402CA43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513465" y="1534200"/>
            <a:ext cx="3435610" cy="4351338"/>
          </a:xfrm>
        </p:spPr>
        <p:txBody>
          <a:bodyPr/>
          <a:lstStyle>
            <a:lvl1pPr marL="0" indent="0" algn="ctr">
              <a:buNone/>
              <a:defRPr baseline="0"/>
            </a:lvl1pPr>
            <a:lvl2pPr marL="457200" indent="0" algn="ctr">
              <a:buFont typeface="System Font Regular"/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Font typeface="System Font Regular"/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62CB780-FE89-A241-9D1B-4EB430F5DCE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480625" y="1553272"/>
            <a:ext cx="3435610" cy="4351338"/>
          </a:xfrm>
        </p:spPr>
        <p:txBody>
          <a:bodyPr/>
          <a:lstStyle>
            <a:lvl1pPr marL="0" indent="0" algn="ctr">
              <a:buNone/>
              <a:defRPr baseline="0"/>
            </a:lvl1pPr>
            <a:lvl2pPr marL="457200" indent="0" algn="ctr">
              <a:buFont typeface="System Font Regular"/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Font typeface="System Font Regular"/>
              <a:buNone/>
              <a:defRPr/>
            </a:lvl4pPr>
            <a:lvl5pPr marL="1828800" indent="0" algn="ctr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3589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or Palette refer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C9EDF3-25BB-DD4D-9DB1-F7AFD6B77F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aseline="0"/>
            </a:lvl1pPr>
          </a:lstStyle>
          <a:p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9545226D-B5B3-2943-9F0F-F80BA5ABC1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7697" y="-16933"/>
            <a:ext cx="10515600" cy="100361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en-US"/>
              <a:t>Apellis full corporate color palette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4A660BC-FD8A-0449-9747-B44204FB426D}"/>
              </a:ext>
            </a:extLst>
          </p:cNvPr>
          <p:cNvSpPr txBox="1"/>
          <p:nvPr userDrawn="1"/>
        </p:nvSpPr>
        <p:spPr>
          <a:xfrm>
            <a:off x="679190" y="1627703"/>
            <a:ext cx="1063917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600" spc="50" baseline="0">
                <a:solidFill>
                  <a:schemeClr val="tx2"/>
                </a:solidFill>
              </a:rPr>
              <a:t>The corporate color palette has been expanded to include a broader range of warm, rich colors. The primary and secondary palettes are embedded in the template, but included here as reference.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FF3BF5C1-D2CA-E94B-A335-7C964FE31701}"/>
              </a:ext>
            </a:extLst>
          </p:cNvPr>
          <p:cNvGrpSpPr/>
          <p:nvPr userDrawn="1"/>
        </p:nvGrpSpPr>
        <p:grpSpPr>
          <a:xfrm>
            <a:off x="679190" y="2448803"/>
            <a:ext cx="7158252" cy="1096401"/>
            <a:chOff x="679190" y="2157158"/>
            <a:chExt cx="7158252" cy="1096401"/>
          </a:xfrm>
        </p:grpSpPr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B56CA8E8-9442-1B4B-96ED-97E81D041263}"/>
                </a:ext>
              </a:extLst>
            </p:cNvPr>
            <p:cNvSpPr txBox="1"/>
            <p:nvPr userDrawn="1"/>
          </p:nvSpPr>
          <p:spPr>
            <a:xfrm>
              <a:off x="679190" y="2157158"/>
              <a:ext cx="2860158" cy="9387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en-US" sz="1100" b="1" spc="50" baseline="0">
                  <a:solidFill>
                    <a:schemeClr val="tx2"/>
                  </a:solidFill>
                </a:rPr>
                <a:t>PRIMARY</a:t>
              </a:r>
            </a:p>
            <a:p>
              <a:pPr lvl="0"/>
              <a:r>
                <a:rPr lang="en-US" sz="1100" spc="50" baseline="0">
                  <a:solidFill>
                    <a:schemeClr val="tx2"/>
                  </a:solidFill>
                </a:rPr>
                <a:t>Primary colors will continue to be orange and white, with the addition of a gradient orange to bring greater vibrancy and dimension to the palette.</a:t>
              </a:r>
            </a:p>
          </p:txBody>
        </p:sp>
        <p:sp>
          <p:nvSpPr>
            <p:cNvPr id="4" name="Oval 3">
              <a:extLst>
                <a:ext uri="{FF2B5EF4-FFF2-40B4-BE49-F238E27FC236}">
                  <a16:creationId xmlns:a16="http://schemas.microsoft.com/office/drawing/2014/main" id="{2931A754-D7CD-C64A-9362-C59E1D9AAD77}"/>
                </a:ext>
              </a:extLst>
            </p:cNvPr>
            <p:cNvSpPr/>
            <p:nvPr userDrawn="1"/>
          </p:nvSpPr>
          <p:spPr>
            <a:xfrm>
              <a:off x="3944679" y="2157158"/>
              <a:ext cx="1096401" cy="109640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CA9F941F-74E5-ED40-9840-E8BC2483E7AA}"/>
                </a:ext>
              </a:extLst>
            </p:cNvPr>
            <p:cNvSpPr/>
            <p:nvPr userDrawn="1"/>
          </p:nvSpPr>
          <p:spPr>
            <a:xfrm>
              <a:off x="5342860" y="2157158"/>
              <a:ext cx="1096401" cy="1096401"/>
            </a:xfrm>
            <a:prstGeom prst="ellipse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66E90BF4-4C4A-4345-815A-ACCFA5F9FF4D}"/>
                </a:ext>
              </a:extLst>
            </p:cNvPr>
            <p:cNvSpPr/>
            <p:nvPr userDrawn="1"/>
          </p:nvSpPr>
          <p:spPr>
            <a:xfrm>
              <a:off x="6741041" y="2157158"/>
              <a:ext cx="1096401" cy="1096401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63EE446-BDEE-B24D-9BDB-F1BE7875A910}"/>
              </a:ext>
            </a:extLst>
          </p:cNvPr>
          <p:cNvGrpSpPr/>
          <p:nvPr userDrawn="1"/>
        </p:nvGrpSpPr>
        <p:grpSpPr>
          <a:xfrm>
            <a:off x="679190" y="3775876"/>
            <a:ext cx="9469430" cy="1107996"/>
            <a:chOff x="679190" y="3475599"/>
            <a:chExt cx="9469430" cy="1107996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9A5CD40-E0C7-8445-B81D-0E033B62B893}"/>
                </a:ext>
              </a:extLst>
            </p:cNvPr>
            <p:cNvSpPr txBox="1"/>
            <p:nvPr userDrawn="1"/>
          </p:nvSpPr>
          <p:spPr>
            <a:xfrm>
              <a:off x="679190" y="3475599"/>
              <a:ext cx="2860158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/>
              <a:r>
                <a:rPr lang="en-US" sz="1100" b="1" spc="50" baseline="0">
                  <a:solidFill>
                    <a:schemeClr val="tx2"/>
                  </a:solidFill>
                </a:rPr>
                <a:t>SECONDARY</a:t>
              </a:r>
            </a:p>
            <a:p>
              <a:pPr lvl="0"/>
              <a:r>
                <a:rPr lang="en-US" sz="1100" spc="50" baseline="0">
                  <a:solidFill>
                    <a:schemeClr val="tx2"/>
                  </a:solidFill>
                </a:rPr>
                <a:t>Secondary colors are inspired by the primary orange, and will be used as a highlight. They include warm neutrals to provide needed balance and sophistication.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DB08551D-DE28-8041-9204-67A497B4B7A3}"/>
                </a:ext>
              </a:extLst>
            </p:cNvPr>
            <p:cNvGrpSpPr/>
            <p:nvPr userDrawn="1"/>
          </p:nvGrpSpPr>
          <p:grpSpPr>
            <a:xfrm>
              <a:off x="4019112" y="3710850"/>
              <a:ext cx="6129508" cy="712059"/>
              <a:chOff x="4019112" y="3710850"/>
              <a:chExt cx="6129508" cy="712059"/>
            </a:xfrm>
          </p:grpSpPr>
          <p:sp>
            <p:nvSpPr>
              <p:cNvPr id="14" name="Oval 13">
                <a:extLst>
                  <a:ext uri="{FF2B5EF4-FFF2-40B4-BE49-F238E27FC236}">
                    <a16:creationId xmlns:a16="http://schemas.microsoft.com/office/drawing/2014/main" id="{EA4D9F37-DA36-A642-9339-88D7F51FD4D9}"/>
                  </a:ext>
                </a:extLst>
              </p:cNvPr>
              <p:cNvSpPr/>
              <p:nvPr userDrawn="1"/>
            </p:nvSpPr>
            <p:spPr>
              <a:xfrm>
                <a:off x="4019112" y="3710850"/>
                <a:ext cx="712059" cy="71205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EBA84F86-5AF5-3F4C-BC4D-D24ABD0FD2DE}"/>
                  </a:ext>
                </a:extLst>
              </p:cNvPr>
              <p:cNvSpPr/>
              <p:nvPr userDrawn="1"/>
            </p:nvSpPr>
            <p:spPr>
              <a:xfrm>
                <a:off x="5102602" y="3710850"/>
                <a:ext cx="712059" cy="712059"/>
              </a:xfrm>
              <a:prstGeom prst="ellipse">
                <a:avLst/>
              </a:prstGeom>
              <a:solidFill>
                <a:srgbClr val="E85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Oval 15">
                <a:extLst>
                  <a:ext uri="{FF2B5EF4-FFF2-40B4-BE49-F238E27FC236}">
                    <a16:creationId xmlns:a16="http://schemas.microsoft.com/office/drawing/2014/main" id="{7B190A2E-F9AB-8942-AB8D-A31BE9DEB693}"/>
                  </a:ext>
                </a:extLst>
              </p:cNvPr>
              <p:cNvSpPr/>
              <p:nvPr userDrawn="1"/>
            </p:nvSpPr>
            <p:spPr>
              <a:xfrm>
                <a:off x="6186092" y="3710850"/>
                <a:ext cx="712059" cy="712059"/>
              </a:xfrm>
              <a:prstGeom prst="ellipse">
                <a:avLst/>
              </a:prstGeom>
              <a:solidFill>
                <a:srgbClr val="FF9D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1A168BB9-B387-F24E-94FC-0F17A7F4C304}"/>
                  </a:ext>
                </a:extLst>
              </p:cNvPr>
              <p:cNvSpPr/>
              <p:nvPr userDrawn="1"/>
            </p:nvSpPr>
            <p:spPr>
              <a:xfrm>
                <a:off x="7269582" y="3710850"/>
                <a:ext cx="712059" cy="712059"/>
              </a:xfrm>
              <a:prstGeom prst="ellipse">
                <a:avLst/>
              </a:prstGeom>
              <a:solidFill>
                <a:srgbClr val="D8D2C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E38F03CF-8778-6146-804F-012A0EABEDBA}"/>
                  </a:ext>
                </a:extLst>
              </p:cNvPr>
              <p:cNvSpPr/>
              <p:nvPr userDrawn="1"/>
            </p:nvSpPr>
            <p:spPr>
              <a:xfrm>
                <a:off x="8353072" y="3710850"/>
                <a:ext cx="712059" cy="712059"/>
              </a:xfrm>
              <a:prstGeom prst="ellipse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6CFEC251-4859-5249-B0BC-D626F6523239}"/>
                  </a:ext>
                </a:extLst>
              </p:cNvPr>
              <p:cNvSpPr/>
              <p:nvPr userDrawn="1"/>
            </p:nvSpPr>
            <p:spPr>
              <a:xfrm>
                <a:off x="9436561" y="3710850"/>
                <a:ext cx="712059" cy="712059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A0EAB191-3A3B-144B-8FAC-8EBABF17100C}"/>
              </a:ext>
            </a:extLst>
          </p:cNvPr>
          <p:cNvSpPr txBox="1"/>
          <p:nvPr userDrawn="1"/>
        </p:nvSpPr>
        <p:spPr>
          <a:xfrm>
            <a:off x="679190" y="5152897"/>
            <a:ext cx="2860158" cy="9387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n-US" sz="1100" b="1" spc="50" baseline="0">
                <a:solidFill>
                  <a:schemeClr val="tx2"/>
                </a:solidFill>
              </a:rPr>
              <a:t>TERTIARY</a:t>
            </a:r>
          </a:p>
          <a:p>
            <a:pPr lvl="0"/>
            <a:r>
              <a:rPr lang="en-US" sz="1100" spc="50" baseline="0">
                <a:solidFill>
                  <a:schemeClr val="tx2"/>
                </a:solidFill>
              </a:rPr>
              <a:t>Reserved primarily for charts, graphs and biologic illustrations, tertiary colors provide a breadth of consistent options to display key elements such as data.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4ED64E3B-3BEB-3B41-8E8B-9C23638F315D}"/>
              </a:ext>
            </a:extLst>
          </p:cNvPr>
          <p:cNvGrpSpPr/>
          <p:nvPr userDrawn="1"/>
        </p:nvGrpSpPr>
        <p:grpSpPr>
          <a:xfrm>
            <a:off x="4125442" y="5282157"/>
            <a:ext cx="5245040" cy="477796"/>
            <a:chOff x="4125442" y="5040258"/>
            <a:chExt cx="5245040" cy="477796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4C54C134-713A-D547-9624-09A9E8FA6E9D}"/>
                </a:ext>
              </a:extLst>
            </p:cNvPr>
            <p:cNvSpPr/>
            <p:nvPr userDrawn="1"/>
          </p:nvSpPr>
          <p:spPr>
            <a:xfrm>
              <a:off x="4125442" y="5040258"/>
              <a:ext cx="477796" cy="477796"/>
            </a:xfrm>
            <a:prstGeom prst="ellips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13F483E4-CF1C-F640-A18B-81BBFB15D357}"/>
                </a:ext>
              </a:extLst>
            </p:cNvPr>
            <p:cNvSpPr/>
            <p:nvPr userDrawn="1"/>
          </p:nvSpPr>
          <p:spPr>
            <a:xfrm>
              <a:off x="4919983" y="5040258"/>
              <a:ext cx="477796" cy="477796"/>
            </a:xfrm>
            <a:prstGeom prst="ellipse">
              <a:avLst/>
            </a:prstGeom>
            <a:solidFill>
              <a:srgbClr val="F5E9D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21217E7-6FA1-984A-AA2B-7A74912F5955}"/>
                </a:ext>
              </a:extLst>
            </p:cNvPr>
            <p:cNvSpPr/>
            <p:nvPr userDrawn="1"/>
          </p:nvSpPr>
          <p:spPr>
            <a:xfrm>
              <a:off x="5714524" y="5040258"/>
              <a:ext cx="477796" cy="477796"/>
            </a:xfrm>
            <a:prstGeom prst="ellipse">
              <a:avLst/>
            </a:prstGeom>
            <a:solidFill>
              <a:srgbClr val="C5D6A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A65F133B-1F68-044A-989F-EDDD43619B61}"/>
                </a:ext>
              </a:extLst>
            </p:cNvPr>
            <p:cNvSpPr/>
            <p:nvPr userDrawn="1"/>
          </p:nvSpPr>
          <p:spPr>
            <a:xfrm>
              <a:off x="6509065" y="5040258"/>
              <a:ext cx="477796" cy="477796"/>
            </a:xfrm>
            <a:prstGeom prst="ellipse">
              <a:avLst/>
            </a:prstGeom>
            <a:solidFill>
              <a:srgbClr val="ABC4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3CF76419-9F3A-3D45-B950-D149F1DF8B8E}"/>
                </a:ext>
              </a:extLst>
            </p:cNvPr>
            <p:cNvSpPr/>
            <p:nvPr userDrawn="1"/>
          </p:nvSpPr>
          <p:spPr>
            <a:xfrm>
              <a:off x="7303606" y="5040258"/>
              <a:ext cx="477796" cy="477796"/>
            </a:xfrm>
            <a:prstGeom prst="ellipse">
              <a:avLst/>
            </a:prstGeom>
            <a:solidFill>
              <a:srgbClr val="B8DD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E729EB52-E947-D340-9A44-9AA413F0A608}"/>
                </a:ext>
              </a:extLst>
            </p:cNvPr>
            <p:cNvSpPr/>
            <p:nvPr userDrawn="1"/>
          </p:nvSpPr>
          <p:spPr>
            <a:xfrm>
              <a:off x="8892686" y="5040258"/>
              <a:ext cx="477796" cy="477796"/>
            </a:xfrm>
            <a:prstGeom prst="ellipse">
              <a:avLst/>
            </a:prstGeom>
            <a:solidFill>
              <a:srgbClr val="005E8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87C38C9E-19CE-454F-8D0B-796EB531D961}"/>
                </a:ext>
              </a:extLst>
            </p:cNvPr>
            <p:cNvSpPr/>
            <p:nvPr userDrawn="1"/>
          </p:nvSpPr>
          <p:spPr>
            <a:xfrm>
              <a:off x="8098147" y="5040258"/>
              <a:ext cx="477796" cy="477796"/>
            </a:xfrm>
            <a:prstGeom prst="ellipse">
              <a:avLst/>
            </a:prstGeom>
            <a:solidFill>
              <a:srgbClr val="6299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84549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12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slideLayout" Target="../slideLayouts/slideLayout121.xml"/><Relationship Id="rId5" Type="http://schemas.openxmlformats.org/officeDocument/2006/relationships/slideLayout" Target="../slideLayouts/slideLayout115.xml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9.xml"/><Relationship Id="rId3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28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theme" Target="../theme/theme12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slideLayout" Target="../slideLayouts/slideLayout162.xml"/><Relationship Id="rId18" Type="http://schemas.openxmlformats.org/officeDocument/2006/relationships/slideLayout" Target="../slideLayouts/slideLayout167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17" Type="http://schemas.openxmlformats.org/officeDocument/2006/relationships/slideLayout" Target="../slideLayouts/slideLayout166.xml"/><Relationship Id="rId2" Type="http://schemas.openxmlformats.org/officeDocument/2006/relationships/slideLayout" Target="../slideLayouts/slideLayout151.xml"/><Relationship Id="rId16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59.xml"/><Relationship Id="rId19" Type="http://schemas.openxmlformats.org/officeDocument/2006/relationships/theme" Target="../theme/theme13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slideLayout" Target="../slideLayouts/slideLayout16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tags" Target="../tags/tag8.xml"/><Relationship Id="rId3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74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69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2.xml"/><Relationship Id="rId10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6.xml"/><Relationship Id="rId13" Type="http://schemas.openxmlformats.org/officeDocument/2006/relationships/slideLayout" Target="../slideLayouts/slideLayout191.xml"/><Relationship Id="rId3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85.xml"/><Relationship Id="rId12" Type="http://schemas.openxmlformats.org/officeDocument/2006/relationships/slideLayout" Target="../slideLayouts/slideLayout190.xml"/><Relationship Id="rId17" Type="http://schemas.openxmlformats.org/officeDocument/2006/relationships/theme" Target="../theme/theme15.xml"/><Relationship Id="rId2" Type="http://schemas.openxmlformats.org/officeDocument/2006/relationships/slideLayout" Target="../slideLayouts/slideLayout180.xml"/><Relationship Id="rId16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79.xml"/><Relationship Id="rId6" Type="http://schemas.openxmlformats.org/officeDocument/2006/relationships/slideLayout" Target="../slideLayouts/slideLayout184.xml"/><Relationship Id="rId11" Type="http://schemas.openxmlformats.org/officeDocument/2006/relationships/slideLayout" Target="../slideLayouts/slideLayout189.xml"/><Relationship Id="rId5" Type="http://schemas.openxmlformats.org/officeDocument/2006/relationships/slideLayout" Target="../slideLayouts/slideLayout183.xml"/><Relationship Id="rId15" Type="http://schemas.openxmlformats.org/officeDocument/2006/relationships/slideLayout" Target="../slideLayouts/slideLayout193.xml"/><Relationship Id="rId10" Type="http://schemas.openxmlformats.org/officeDocument/2006/relationships/slideLayout" Target="../slideLayouts/slideLayout188.xml"/><Relationship Id="rId4" Type="http://schemas.openxmlformats.org/officeDocument/2006/relationships/slideLayout" Target="../slideLayouts/slideLayout182.xml"/><Relationship Id="rId9" Type="http://schemas.openxmlformats.org/officeDocument/2006/relationships/slideLayout" Target="../slideLayouts/slideLayout187.xml"/><Relationship Id="rId14" Type="http://schemas.openxmlformats.org/officeDocument/2006/relationships/slideLayout" Target="../slideLayouts/slideLayout19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2.xml"/><Relationship Id="rId13" Type="http://schemas.openxmlformats.org/officeDocument/2006/relationships/slideLayout" Target="../slideLayouts/slideLayout207.xml"/><Relationship Id="rId3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201.xml"/><Relationship Id="rId12" Type="http://schemas.openxmlformats.org/officeDocument/2006/relationships/slideLayout" Target="../slideLayouts/slideLayout206.xml"/><Relationship Id="rId2" Type="http://schemas.openxmlformats.org/officeDocument/2006/relationships/slideLayout" Target="../slideLayouts/slideLayout196.xml"/><Relationship Id="rId16" Type="http://schemas.openxmlformats.org/officeDocument/2006/relationships/theme" Target="../theme/theme16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1" Type="http://schemas.openxmlformats.org/officeDocument/2006/relationships/slideLayout" Target="../slideLayouts/slideLayout205.xml"/><Relationship Id="rId5" Type="http://schemas.openxmlformats.org/officeDocument/2006/relationships/slideLayout" Target="../slideLayouts/slideLayout199.xml"/><Relationship Id="rId15" Type="http://schemas.openxmlformats.org/officeDocument/2006/relationships/slideLayout" Target="../slideLayouts/slideLayout209.xml"/><Relationship Id="rId10" Type="http://schemas.openxmlformats.org/officeDocument/2006/relationships/slideLayout" Target="../slideLayouts/slideLayout204.xml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Relationship Id="rId14" Type="http://schemas.openxmlformats.org/officeDocument/2006/relationships/slideLayout" Target="../slideLayouts/slideLayout208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13" Type="http://schemas.openxmlformats.org/officeDocument/2006/relationships/slideLayout" Target="../slideLayouts/slideLayout222.xml"/><Relationship Id="rId3" Type="http://schemas.openxmlformats.org/officeDocument/2006/relationships/slideLayout" Target="../slideLayouts/slideLayout212.xml"/><Relationship Id="rId7" Type="http://schemas.openxmlformats.org/officeDocument/2006/relationships/slideLayout" Target="../slideLayouts/slideLayout216.xml"/><Relationship Id="rId12" Type="http://schemas.openxmlformats.org/officeDocument/2006/relationships/slideLayout" Target="../slideLayouts/slideLayout221.xml"/><Relationship Id="rId2" Type="http://schemas.openxmlformats.org/officeDocument/2006/relationships/slideLayout" Target="../slideLayouts/slideLayout211.xml"/><Relationship Id="rId16" Type="http://schemas.openxmlformats.org/officeDocument/2006/relationships/theme" Target="../theme/theme17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220.xml"/><Relationship Id="rId5" Type="http://schemas.openxmlformats.org/officeDocument/2006/relationships/slideLayout" Target="../slideLayouts/slideLayout214.xml"/><Relationship Id="rId15" Type="http://schemas.openxmlformats.org/officeDocument/2006/relationships/slideLayout" Target="../slideLayouts/slideLayout224.xml"/><Relationship Id="rId10" Type="http://schemas.openxmlformats.org/officeDocument/2006/relationships/slideLayout" Target="../slideLayouts/slideLayout219.xml"/><Relationship Id="rId4" Type="http://schemas.openxmlformats.org/officeDocument/2006/relationships/slideLayout" Target="../slideLayouts/slideLayout213.xml"/><Relationship Id="rId9" Type="http://schemas.openxmlformats.org/officeDocument/2006/relationships/slideLayout" Target="../slideLayouts/slideLayout218.xml"/><Relationship Id="rId14" Type="http://schemas.openxmlformats.org/officeDocument/2006/relationships/slideLayout" Target="../slideLayouts/slideLayout223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29.xml"/><Relationship Id="rId10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image" Target="../media/image10.wmf"/><Relationship Id="rId5" Type="http://schemas.openxmlformats.org/officeDocument/2006/relationships/slideLayout" Target="../slideLayouts/slideLayout51.xml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50.xml"/><Relationship Id="rId9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99.xml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0" Type="http://schemas.openxmlformats.org/officeDocument/2006/relationships/slideLayout" Target="../slideLayouts/slideLayout98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23" Type="http://schemas.openxmlformats.org/officeDocument/2006/relationships/image" Target="../media/image26.png"/><Relationship Id="rId10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97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image" Target="../media/image35.jpeg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1.xml"/><Relationship Id="rId16" Type="http://schemas.openxmlformats.org/officeDocument/2006/relationships/image" Target="../media/image38.png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image" Target="../media/image37.png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image" Target="../media/image36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E21148-7E8F-BE46-AEC1-7258941F9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216000"/>
            <a:ext cx="10874375" cy="87801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069424-D0AB-3348-8150-928B7970CD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304925"/>
            <a:ext cx="10874375" cy="46092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A99F87-B6A1-8F44-A974-B177D4392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076508"/>
            <a:ext cx="3316287" cy="595540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defRPr sz="900" spc="50" baseline="0">
                <a:solidFill>
                  <a:srgbClr val="4A4F55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646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sldNum="0" hdr="0" dt="0"/>
  <p:txStyles>
    <p:titleStyle>
      <a:lvl1pPr algn="l" defTabSz="914400" rtl="0" eaLnBrk="1" fontAlgn="b" latinLnBrk="0" hangingPunct="1">
        <a:lnSpc>
          <a:spcPct val="100000"/>
        </a:lnSpc>
        <a:spcBef>
          <a:spcPct val="0"/>
        </a:spcBef>
        <a:buNone/>
        <a:defRPr sz="3000" b="0" kern="1200" spc="50" baseline="0">
          <a:solidFill>
            <a:srgbClr val="FF681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 spc="50" baseline="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–"/>
        <a:defRPr sz="1800" kern="1200" spc="50" baseline="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 spc="50" baseline="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–"/>
        <a:defRPr sz="1800" kern="1200" spc="50" baseline="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 spc="5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2">
          <p15:clr>
            <a:srgbClr val="F26B43"/>
          </p15:clr>
        </p15:guide>
        <p15:guide id="2" orient="horz" pos="3725">
          <p15:clr>
            <a:srgbClr val="F26B43"/>
          </p15:clr>
        </p15:guide>
        <p15:guide id="3" pos="347">
          <p15:clr>
            <a:srgbClr val="F26B43"/>
          </p15:clr>
        </p15:guide>
        <p15:guide id="4" pos="7197">
          <p15:clr>
            <a:srgbClr val="F26B43"/>
          </p15:clr>
        </p15:guide>
        <p15:guide id="5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22B42F1-3DB9-4947-8DB2-7FADD7928C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997F67-768D-AC43-9AAD-234C0E3CAD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7B5202-5CD2-3745-9D5E-572A7A7680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2B1F45-526B-1446-B9B0-E25A9E8A68F4}" type="datetimeFigureOut">
              <a:rPr lang="en-US" smtClean="0"/>
              <a:t>2/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3C6010-14D4-9943-AB75-C90C9A0094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152786-7624-1B4E-8E31-C699913C68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D8EF6D8-0092-B04A-BBD9-6B7B06B3D87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027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4" r:id="rId1"/>
    <p:sldLayoutId id="2147484005" r:id="rId2"/>
    <p:sldLayoutId id="2147484006" r:id="rId3"/>
    <p:sldLayoutId id="2147484007" r:id="rId4"/>
    <p:sldLayoutId id="2147484008" r:id="rId5"/>
    <p:sldLayoutId id="2147484009" r:id="rId6"/>
    <p:sldLayoutId id="2147484010" r:id="rId7"/>
    <p:sldLayoutId id="2147484011" r:id="rId8"/>
    <p:sldLayoutId id="2147484012" r:id="rId9"/>
    <p:sldLayoutId id="2147484013" r:id="rId10"/>
    <p:sldLayoutId id="214748401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21B8972-B118-1D42-9A13-5B0D8408B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D15FB0-912A-E544-940E-12B7724B65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349BF0F-2CD1-014D-B489-062B1EA1732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69E56F-0F66-E24A-A873-80BBBC8AA3AD}" type="datetimeFigureOut">
              <a:rPr lang="en-US" smtClean="0">
                <a:solidFill>
                  <a:srgbClr val="5E6C85">
                    <a:tint val="75000"/>
                  </a:srgbClr>
                </a:solidFill>
              </a:rPr>
              <a:pPr/>
              <a:t>2/2/2024</a:t>
            </a:fld>
            <a:endParaRPr lang="en-US">
              <a:solidFill>
                <a:srgbClr val="5E6C85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35B06E-BE53-4B4A-BA51-0D1E7C0721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5E6C85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B6B88F-468F-3041-9539-E8D3188E8F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EAF72-7574-C742-A4A1-4DF8B2603F35}" type="slidenum">
              <a:rPr lang="en-US" smtClean="0">
                <a:solidFill>
                  <a:srgbClr val="5E6C85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5E6C85">
                  <a:tint val="75000"/>
                </a:srgb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0FD3466-3409-A5FA-70DC-B26D5483ED80}"/>
              </a:ext>
            </a:extLst>
          </p:cNvPr>
          <p:cNvSpPr txBox="1"/>
          <p:nvPr userDrawn="1"/>
        </p:nvSpPr>
        <p:spPr>
          <a:xfrm rot="5400000">
            <a:off x="11684993" y="4587158"/>
            <a:ext cx="78225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>
                <a:solidFill>
                  <a:prstClr val="white">
                    <a:lumMod val="50000"/>
                  </a:prstClr>
                </a:solidFill>
              </a:rPr>
              <a:t>NP-26814</a:t>
            </a:r>
          </a:p>
        </p:txBody>
      </p:sp>
    </p:spTree>
    <p:extLst>
      <p:ext uri="{BB962C8B-B14F-4D97-AF65-F5344CB8AC3E}">
        <p14:creationId xmlns:p14="http://schemas.microsoft.com/office/powerpoint/2010/main" val="1357389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8" r:id="rId1"/>
    <p:sldLayoutId id="2147484020" r:id="rId2"/>
    <p:sldLayoutId id="2147484021" r:id="rId3"/>
    <p:sldLayoutId id="2147484022" r:id="rId4"/>
    <p:sldLayoutId id="2147484024" r:id="rId5"/>
    <p:sldLayoutId id="2147484025" r:id="rId6"/>
    <p:sldLayoutId id="2147484026" r:id="rId7"/>
    <p:sldLayoutId id="2147484027" r:id="rId8"/>
    <p:sldLayoutId id="2147484028" r:id="rId9"/>
    <p:sldLayoutId id="2147484029" r:id="rId10"/>
    <p:sldLayoutId id="214748403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25">
          <p15:clr>
            <a:srgbClr val="F26B43"/>
          </p15:clr>
        </p15:guide>
        <p15:guide id="2" orient="horz" pos="402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FCAF6E03-570B-4878-AFA2-83EF2E42490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0DF3D12E-3962-4846-849F-CAAF5014D2D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366EC0-3E69-4454-9EC6-8971971CBB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7CAFF4-D021-4FD6-90EC-79D8C84A1D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C7851D-B600-48D5-9999-4C35407F7D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19EA899-1F91-49F6-86FB-62BB72EA39DB}" type="slidenum">
              <a:rPr lang="en-US">
                <a:solidFill>
                  <a:srgbClr val="333333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8520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  <p:sldLayoutId id="2147484036" r:id="rId4"/>
    <p:sldLayoutId id="2147484037" r:id="rId5"/>
    <p:sldLayoutId id="2147484038" r:id="rId6"/>
    <p:sldLayoutId id="2147484039" r:id="rId7"/>
    <p:sldLayoutId id="2147484040" r:id="rId8"/>
    <p:sldLayoutId id="2147484041" r:id="rId9"/>
    <p:sldLayoutId id="2147484042" r:id="rId10"/>
    <p:sldLayoutId id="2147484043" r:id="rId11"/>
    <p:sldLayoutId id="2147484044" r:id="rId12"/>
    <p:sldLayoutId id="2147484045" r:id="rId13"/>
    <p:sldLayoutId id="2147484047" r:id="rId14"/>
    <p:sldLayoutId id="2147484048" r:id="rId15"/>
    <p:sldLayoutId id="2147484050" r:id="rId16"/>
    <p:sldLayoutId id="2147484051" r:id="rId17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FCAF6E03-570B-4878-AFA2-83EF2E42490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0DF3D12E-3962-4846-849F-CAAF5014D2D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366EC0-3E69-4454-9EC6-8971971CBB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7CAFF4-D021-4FD6-90EC-79D8C84A1D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C7851D-B600-48D5-9999-4C35407F7D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19EA899-1F91-49F6-86FB-62BB72EA39DB}" type="slidenum">
              <a:rPr lang="en-US">
                <a:solidFill>
                  <a:srgbClr val="333333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64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3" r:id="rId1"/>
    <p:sldLayoutId id="2147484054" r:id="rId2"/>
    <p:sldLayoutId id="2147484055" r:id="rId3"/>
    <p:sldLayoutId id="2147484056" r:id="rId4"/>
    <p:sldLayoutId id="2147484057" r:id="rId5"/>
    <p:sldLayoutId id="2147484058" r:id="rId6"/>
    <p:sldLayoutId id="2147484059" r:id="rId7"/>
    <p:sldLayoutId id="2147484060" r:id="rId8"/>
    <p:sldLayoutId id="2147484061" r:id="rId9"/>
    <p:sldLayoutId id="2147484062" r:id="rId10"/>
    <p:sldLayoutId id="2147484063" r:id="rId11"/>
    <p:sldLayoutId id="2147484064" r:id="rId12"/>
    <p:sldLayoutId id="2147484065" r:id="rId13"/>
    <p:sldLayoutId id="2147484066" r:id="rId14"/>
    <p:sldLayoutId id="2147484067" r:id="rId15"/>
    <p:sldLayoutId id="2147484068" r:id="rId16"/>
    <p:sldLayoutId id="2147484070" r:id="rId17"/>
    <p:sldLayoutId id="2147484071" r:id="rId18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bject 10">
            <a:extLst>
              <a:ext uri="{FF2B5EF4-FFF2-40B4-BE49-F238E27FC236}">
                <a16:creationId xmlns:a16="http://schemas.microsoft.com/office/drawing/2014/main" id="{D5274787-9045-CB47-BA5E-F98B84DFCF99}"/>
              </a:ext>
            </a:extLst>
          </p:cNvPr>
          <p:cNvSpPr/>
          <p:nvPr userDrawn="1"/>
        </p:nvSpPr>
        <p:spPr>
          <a:xfrm>
            <a:off x="0" y="0"/>
            <a:ext cx="12192000" cy="1175657"/>
          </a:xfrm>
          <a:custGeom>
            <a:avLst/>
            <a:gdLst/>
            <a:ahLst/>
            <a:cxnLst/>
            <a:rect l="l" t="t" r="r" b="b"/>
            <a:pathLst>
              <a:path w="20104100" h="2033905">
                <a:moveTo>
                  <a:pt x="0" y="2033563"/>
                </a:moveTo>
                <a:lnTo>
                  <a:pt x="20104073" y="2033563"/>
                </a:lnTo>
                <a:lnTo>
                  <a:pt x="20104073" y="0"/>
                </a:lnTo>
                <a:lnTo>
                  <a:pt x="0" y="0"/>
                </a:lnTo>
                <a:lnTo>
                  <a:pt x="0" y="2033563"/>
                </a:lnTo>
                <a:close/>
              </a:path>
            </a:pathLst>
          </a:custGeom>
          <a:solidFill>
            <a:srgbClr val="163D80"/>
          </a:solidFill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rtlCol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sz="3482">
              <a:solidFill>
                <a:srgbClr val="030508"/>
              </a:solidFill>
              <a:ea typeface="Arial" panose="020B0604020202020204" pitchFamily="34" charset="0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B5E25C43-BA8C-441D-90CD-04F4475826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" y="0"/>
            <a:ext cx="12192000" cy="720977"/>
          </a:xfrm>
          <a:prstGeom prst="rect">
            <a:avLst/>
          </a:prstGeom>
          <a:solidFill>
            <a:srgbClr val="163D80"/>
          </a:solidFill>
          <a:ln>
            <a:noFill/>
          </a:ln>
        </p:spPr>
        <p:txBody>
          <a:bodyPr lIns="13871" tIns="6935" rIns="13871" bIns="6935" anchor="ctr"/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3" b="1" i="1">
              <a:solidFill>
                <a:srgbClr val="FFFFFF"/>
              </a:solidFill>
              <a:ea typeface="Arial" panose="020B0604020202020204" pitchFamily="34" charset="0"/>
              <a:cs typeface="Arial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3" b="1" i="1">
              <a:solidFill>
                <a:srgbClr val="FFFFFF"/>
              </a:solidFill>
              <a:ea typeface="Arial" panose="020B0604020202020204" pitchFamily="34" charset="0"/>
              <a:cs typeface="Arial"/>
            </a:endParaRP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3" b="1" i="1">
              <a:solidFill>
                <a:srgbClr val="FFFFFF"/>
              </a:solidFill>
              <a:ea typeface="Arial" panose="020B0604020202020204" pitchFamily="34" charset="0"/>
              <a:cs typeface="Arial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87400" y="99682"/>
            <a:ext cx="11108241" cy="984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108000" bIns="0" numCol="1" anchor="b" anchorCtr="0" compatLnSpc="1">
            <a:prstTxWarp prst="textNoShape">
              <a:avLst/>
            </a:prstTxWarp>
            <a:noAutofit/>
          </a:bodyPr>
          <a:lstStyle/>
          <a:p>
            <a:pPr lvl="0" algn="l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9999" y="1690291"/>
            <a:ext cx="11174074" cy="2056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80000" tIns="180000" rIns="180000" bIns="180000" numCol="1" anchor="t" anchorCtr="0" compatLnSpc="1">
            <a:prstTxWarp prst="textNoShape">
              <a:avLst/>
            </a:prstTxWarp>
            <a:spAutoFit/>
          </a:bodyPr>
          <a:lstStyle/>
          <a:p>
            <a:pPr marL="321665" lvl="0" indent="-273600" algn="l" defTabSz="316959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Char char="–"/>
            </a:pPr>
            <a:r>
              <a:rPr lang="en-US"/>
              <a:t>Click to edit Master text styles</a:t>
            </a:r>
          </a:p>
          <a:p>
            <a:pPr marL="547200" lvl="1" indent="-273600" algn="l" defTabSz="316959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Char char="–"/>
            </a:pPr>
            <a:r>
              <a:rPr lang="en-US"/>
              <a:t>Second level</a:t>
            </a:r>
          </a:p>
          <a:p>
            <a:pPr marL="547200" lvl="1" indent="-273600" algn="l" defTabSz="316959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Char char="–"/>
            </a:pPr>
            <a:r>
              <a:rPr lang="en-US"/>
              <a:t>Third level</a:t>
            </a:r>
          </a:p>
          <a:p>
            <a:pPr marL="547200" lvl="1" indent="-273600" algn="l" defTabSz="316959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Char char="–"/>
            </a:pPr>
            <a:r>
              <a:rPr lang="en-US"/>
              <a:t>Fourth level</a:t>
            </a:r>
          </a:p>
          <a:p>
            <a:pPr marL="547200" lvl="1" indent="-273600" algn="l" defTabSz="316959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Char char="–"/>
            </a:pPr>
            <a:r>
              <a:rPr lang="en-US"/>
              <a:t>Fifth level</a:t>
            </a:r>
          </a:p>
        </p:txBody>
      </p:sp>
      <p:sp>
        <p:nvSpPr>
          <p:cNvPr id="2" name="object 10">
            <a:extLst>
              <a:ext uri="{FF2B5EF4-FFF2-40B4-BE49-F238E27FC236}">
                <a16:creationId xmlns:a16="http://schemas.microsoft.com/office/drawing/2014/main" id="{F7DA7CF2-9E05-6902-B3D4-7F527407CFF2}"/>
              </a:ext>
            </a:extLst>
          </p:cNvPr>
          <p:cNvSpPr/>
          <p:nvPr userDrawn="1"/>
        </p:nvSpPr>
        <p:spPr>
          <a:xfrm>
            <a:off x="0" y="6705600"/>
            <a:ext cx="12192000" cy="152400"/>
          </a:xfrm>
          <a:custGeom>
            <a:avLst/>
            <a:gdLst/>
            <a:ahLst/>
            <a:cxnLst/>
            <a:rect l="l" t="t" r="r" b="b"/>
            <a:pathLst>
              <a:path w="20104100" h="2033905">
                <a:moveTo>
                  <a:pt x="0" y="2033563"/>
                </a:moveTo>
                <a:lnTo>
                  <a:pt x="20104073" y="2033563"/>
                </a:lnTo>
                <a:lnTo>
                  <a:pt x="20104073" y="0"/>
                </a:lnTo>
                <a:lnTo>
                  <a:pt x="0" y="0"/>
                </a:lnTo>
                <a:lnTo>
                  <a:pt x="0" y="2033563"/>
                </a:lnTo>
                <a:close/>
              </a:path>
            </a:pathLst>
          </a:custGeom>
          <a:solidFill>
            <a:srgbClr val="163D80"/>
          </a:solidFill>
        </p:spPr>
        <p:txBody>
          <a:bodyPr wrap="square" lIns="0" tIns="0" rIns="0" bIns="0" rtlCol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sz="3482">
              <a:solidFill>
                <a:srgbClr val="030508"/>
              </a:solidFill>
              <a:ea typeface="Arial" panose="020B0604020202020204" pitchFamily="34" charset="0"/>
            </a:endParaRPr>
          </a:p>
        </p:txBody>
      </p:sp>
    </p:spTree>
    <p:custDataLst>
      <p:tags r:id="rId13"/>
    </p:custDataLst>
    <p:extLst>
      <p:ext uri="{BB962C8B-B14F-4D97-AF65-F5344CB8AC3E}">
        <p14:creationId xmlns:p14="http://schemas.microsoft.com/office/powerpoint/2010/main" val="20520248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5" r:id="rId1"/>
    <p:sldLayoutId id="2147484076" r:id="rId2"/>
    <p:sldLayoutId id="2147484077" r:id="rId3"/>
    <p:sldLayoutId id="2147484078" r:id="rId4"/>
    <p:sldLayoutId id="2147484079" r:id="rId5"/>
    <p:sldLayoutId id="2147484080" r:id="rId6"/>
    <p:sldLayoutId id="2147484081" r:id="rId7"/>
    <p:sldLayoutId id="2147484082" r:id="rId8"/>
    <p:sldLayoutId id="2147484083" r:id="rId9"/>
    <p:sldLayoutId id="2147484084" r:id="rId10"/>
    <p:sldLayoutId id="2147484085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ctr" defTabSz="316959" rtl="0" eaLnBrk="1" fontAlgn="base" hangingPunct="1">
        <a:spcBef>
          <a:spcPct val="0"/>
        </a:spcBef>
        <a:spcAft>
          <a:spcPct val="0"/>
        </a:spcAft>
        <a:defRPr lang="en-US" sz="3200" b="1" dirty="0">
          <a:solidFill>
            <a:schemeClr val="bg1"/>
          </a:solidFill>
          <a:latin typeface="+mj-lt"/>
          <a:ea typeface="Arial" panose="020B0604020202020204" pitchFamily="34" charset="0"/>
          <a:cs typeface="Arial" panose="020B0604020202020204" pitchFamily="34" charset="0"/>
        </a:defRPr>
      </a:lvl1pPr>
      <a:lvl2pPr algn="ctr" defTabSz="316959" rtl="0" eaLnBrk="1" fontAlgn="base" hangingPunct="1">
        <a:spcBef>
          <a:spcPct val="0"/>
        </a:spcBef>
        <a:spcAft>
          <a:spcPct val="0"/>
        </a:spcAft>
        <a:defRPr sz="1536">
          <a:solidFill>
            <a:schemeClr val="tx2"/>
          </a:solidFill>
          <a:latin typeface="Arial" charset="0"/>
          <a:ea typeface="Arial" panose="020B0604020202020204" pitchFamily="34" charset="0"/>
          <a:cs typeface="Arial" panose="020B0604020202020204" pitchFamily="34" charset="0"/>
        </a:defRPr>
      </a:lvl2pPr>
      <a:lvl3pPr algn="ctr" defTabSz="316959" rtl="0" eaLnBrk="1" fontAlgn="base" hangingPunct="1">
        <a:spcBef>
          <a:spcPct val="0"/>
        </a:spcBef>
        <a:spcAft>
          <a:spcPct val="0"/>
        </a:spcAft>
        <a:defRPr sz="1536">
          <a:solidFill>
            <a:schemeClr val="tx2"/>
          </a:solidFill>
          <a:latin typeface="Arial" charset="0"/>
          <a:ea typeface="Arial" panose="020B0604020202020204" pitchFamily="34" charset="0"/>
          <a:cs typeface="Arial" panose="020B0604020202020204" pitchFamily="34" charset="0"/>
        </a:defRPr>
      </a:lvl3pPr>
      <a:lvl4pPr algn="ctr" defTabSz="316959" rtl="0" eaLnBrk="1" fontAlgn="base" hangingPunct="1">
        <a:spcBef>
          <a:spcPct val="0"/>
        </a:spcBef>
        <a:spcAft>
          <a:spcPct val="0"/>
        </a:spcAft>
        <a:defRPr sz="1536">
          <a:solidFill>
            <a:schemeClr val="tx2"/>
          </a:solidFill>
          <a:latin typeface="Arial" charset="0"/>
          <a:ea typeface="Arial" panose="020B0604020202020204" pitchFamily="34" charset="0"/>
          <a:cs typeface="Arial" panose="020B0604020202020204" pitchFamily="34" charset="0"/>
        </a:defRPr>
      </a:lvl4pPr>
      <a:lvl5pPr algn="ctr" defTabSz="316959" rtl="0" eaLnBrk="1" fontAlgn="base" hangingPunct="1">
        <a:spcBef>
          <a:spcPct val="0"/>
        </a:spcBef>
        <a:spcAft>
          <a:spcPct val="0"/>
        </a:spcAft>
        <a:defRPr sz="1536">
          <a:solidFill>
            <a:schemeClr val="tx2"/>
          </a:solidFill>
          <a:latin typeface="Arial" charset="0"/>
          <a:ea typeface="Arial" panose="020B0604020202020204" pitchFamily="34" charset="0"/>
          <a:cs typeface="Arial" panose="020B0604020202020204" pitchFamily="34" charset="0"/>
        </a:defRPr>
      </a:lvl5pPr>
      <a:lvl6pPr marL="38517" algn="ctr" defTabSz="316963" rtl="0" eaLnBrk="1" fontAlgn="base" hangingPunct="1">
        <a:spcBef>
          <a:spcPct val="0"/>
        </a:spcBef>
        <a:spcAft>
          <a:spcPct val="0"/>
        </a:spcAft>
        <a:defRPr sz="1536">
          <a:solidFill>
            <a:schemeClr val="tx2"/>
          </a:solidFill>
          <a:latin typeface="Arial" charset="0"/>
        </a:defRPr>
      </a:lvl6pPr>
      <a:lvl7pPr marL="77034" algn="ctr" defTabSz="316963" rtl="0" eaLnBrk="1" fontAlgn="base" hangingPunct="1">
        <a:spcBef>
          <a:spcPct val="0"/>
        </a:spcBef>
        <a:spcAft>
          <a:spcPct val="0"/>
        </a:spcAft>
        <a:defRPr sz="1536">
          <a:solidFill>
            <a:schemeClr val="tx2"/>
          </a:solidFill>
          <a:latin typeface="Arial" charset="0"/>
        </a:defRPr>
      </a:lvl7pPr>
      <a:lvl8pPr marL="115551" algn="ctr" defTabSz="316963" rtl="0" eaLnBrk="1" fontAlgn="base" hangingPunct="1">
        <a:spcBef>
          <a:spcPct val="0"/>
        </a:spcBef>
        <a:spcAft>
          <a:spcPct val="0"/>
        </a:spcAft>
        <a:defRPr sz="1536">
          <a:solidFill>
            <a:schemeClr val="tx2"/>
          </a:solidFill>
          <a:latin typeface="Arial" charset="0"/>
        </a:defRPr>
      </a:lvl8pPr>
      <a:lvl9pPr marL="154068" algn="ctr" defTabSz="316963" rtl="0" eaLnBrk="1" fontAlgn="base" hangingPunct="1">
        <a:spcBef>
          <a:spcPct val="0"/>
        </a:spcBef>
        <a:spcAft>
          <a:spcPct val="0"/>
        </a:spcAft>
        <a:defRPr sz="1536">
          <a:solidFill>
            <a:schemeClr val="tx2"/>
          </a:solidFill>
          <a:latin typeface="Arial" charset="0"/>
        </a:defRPr>
      </a:lvl9pPr>
    </p:titleStyle>
    <p:bodyStyle>
      <a:lvl1pPr marL="333815" indent="-285750" algn="l" defTabSz="316959" rtl="0" eaLnBrk="1" fontAlgn="base" hangingPunct="1">
        <a:spcBef>
          <a:spcPts val="0"/>
        </a:spcBef>
        <a:spcAft>
          <a:spcPts val="600"/>
        </a:spcAft>
        <a:buClr>
          <a:schemeClr val="accent2"/>
        </a:buClr>
        <a:buFont typeface="Arial" panose="020B0604020202020204" pitchFamily="34" charset="0"/>
        <a:buChar char="•"/>
        <a:defRPr lang="en-US" sz="1800" kern="0" dirty="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1pPr>
      <a:lvl2pPr marL="273600" indent="-273600" algn="l" defTabSz="316959" rtl="0" eaLnBrk="1" fontAlgn="base" hangingPunct="1">
        <a:spcBef>
          <a:spcPts val="0"/>
        </a:spcBef>
        <a:spcAft>
          <a:spcPts val="600"/>
        </a:spcAft>
        <a:buClr>
          <a:schemeClr val="accent2"/>
        </a:buClr>
        <a:buChar char="•"/>
        <a:defRPr lang="en-US" sz="1800" kern="0" dirty="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2pPr>
      <a:lvl3pPr marL="160215" indent="-48581" algn="l" defTabSz="316959" rtl="0" eaLnBrk="1" fontAlgn="base" hangingPunct="1">
        <a:spcBef>
          <a:spcPts val="0"/>
        </a:spcBef>
        <a:spcAft>
          <a:spcPts val="49"/>
        </a:spcAft>
        <a:buClr>
          <a:schemeClr val="accent2"/>
        </a:buClr>
        <a:buChar char="•"/>
        <a:tabLst/>
        <a:defRPr sz="456">
          <a:solidFill>
            <a:schemeClr val="tx1"/>
          </a:solidFill>
          <a:latin typeface="+mn-lt"/>
          <a:ea typeface="Arial" panose="020B0604020202020204" pitchFamily="34" charset="0"/>
        </a:defRPr>
      </a:lvl3pPr>
      <a:lvl4pPr marL="221717" indent="-59951" algn="l" defTabSz="316959" rtl="0" eaLnBrk="1" fontAlgn="base" hangingPunct="1">
        <a:spcBef>
          <a:spcPts val="0"/>
        </a:spcBef>
        <a:spcAft>
          <a:spcPts val="49"/>
        </a:spcAft>
        <a:buClr>
          <a:schemeClr val="accent2"/>
        </a:buClr>
        <a:buChar char="–"/>
        <a:tabLst/>
        <a:defRPr sz="456">
          <a:solidFill>
            <a:schemeClr val="tx1"/>
          </a:solidFill>
          <a:latin typeface="+mn-lt"/>
          <a:ea typeface="Arial" panose="020B0604020202020204" pitchFamily="34" charset="0"/>
        </a:defRPr>
      </a:lvl4pPr>
      <a:lvl5pPr marL="268747" indent="-44964" algn="l" defTabSz="316959" rtl="0" eaLnBrk="1" fontAlgn="base" hangingPunct="1">
        <a:spcBef>
          <a:spcPts val="0"/>
        </a:spcBef>
        <a:spcAft>
          <a:spcPts val="49"/>
        </a:spcAft>
        <a:buClr>
          <a:schemeClr val="accent2"/>
        </a:buClr>
        <a:buFont typeface="Arial" panose="020B0604020202020204" pitchFamily="34" charset="0"/>
        <a:buChar char="•"/>
        <a:defRPr sz="456">
          <a:solidFill>
            <a:schemeClr val="tx1"/>
          </a:solidFill>
          <a:latin typeface="+mn-lt"/>
          <a:ea typeface="Arial" panose="020B0604020202020204" pitchFamily="34" charset="0"/>
        </a:defRPr>
      </a:lvl5pPr>
      <a:lvl6pPr marL="751617" indent="-79307" algn="l" defTabSz="316963" rtl="0" eaLnBrk="1" fontAlgn="base" hangingPunct="1">
        <a:spcBef>
          <a:spcPct val="20000"/>
        </a:spcBef>
        <a:spcAft>
          <a:spcPct val="0"/>
        </a:spcAft>
        <a:buChar char="»"/>
        <a:defRPr sz="697">
          <a:solidFill>
            <a:schemeClr val="tx1"/>
          </a:solidFill>
          <a:latin typeface="+mn-lt"/>
          <a:ea typeface="Arial" panose="020B0604020202020204" pitchFamily="34" charset="0"/>
        </a:defRPr>
      </a:lvl6pPr>
      <a:lvl7pPr marL="790134" indent="-79307" algn="l" defTabSz="316963" rtl="0" eaLnBrk="1" fontAlgn="base" hangingPunct="1">
        <a:spcBef>
          <a:spcPct val="20000"/>
        </a:spcBef>
        <a:spcAft>
          <a:spcPct val="0"/>
        </a:spcAft>
        <a:buChar char="»"/>
        <a:defRPr sz="697">
          <a:solidFill>
            <a:schemeClr val="tx1"/>
          </a:solidFill>
          <a:latin typeface="+mn-lt"/>
          <a:ea typeface="Arial" panose="020B0604020202020204" pitchFamily="34" charset="0"/>
        </a:defRPr>
      </a:lvl7pPr>
      <a:lvl8pPr marL="828651" indent="-79307" algn="l" defTabSz="316963" rtl="0" eaLnBrk="1" fontAlgn="base" hangingPunct="1">
        <a:spcBef>
          <a:spcPct val="20000"/>
        </a:spcBef>
        <a:spcAft>
          <a:spcPct val="0"/>
        </a:spcAft>
        <a:buChar char="»"/>
        <a:defRPr sz="697">
          <a:solidFill>
            <a:schemeClr val="tx1"/>
          </a:solidFill>
          <a:latin typeface="+mn-lt"/>
          <a:ea typeface="Arial" panose="020B0604020202020204" pitchFamily="34" charset="0"/>
        </a:defRPr>
      </a:lvl8pPr>
      <a:lvl9pPr marL="867168" indent="-79307" algn="l" defTabSz="316963" rtl="0" eaLnBrk="1" fontAlgn="base" hangingPunct="1">
        <a:spcBef>
          <a:spcPct val="20000"/>
        </a:spcBef>
        <a:spcAft>
          <a:spcPct val="0"/>
        </a:spcAft>
        <a:buChar char="»"/>
        <a:defRPr sz="697">
          <a:solidFill>
            <a:schemeClr val="tx1"/>
          </a:solidFill>
          <a:latin typeface="+mn-lt"/>
          <a:ea typeface="Arial" panose="020B0604020202020204" pitchFamily="34" charset="0"/>
        </a:defRPr>
      </a:lvl9pPr>
    </p:bodyStyle>
    <p:otherStyle>
      <a:defPPr>
        <a:defRPr lang="en-US"/>
      </a:defPPr>
      <a:lvl1pPr marL="0" algn="l" defTabSz="38517" rtl="0" eaLnBrk="1" latinLnBrk="0" hangingPunct="1">
        <a:defRPr sz="148" kern="1200">
          <a:solidFill>
            <a:schemeClr val="tx1"/>
          </a:solidFill>
          <a:latin typeface="+mn-lt"/>
          <a:ea typeface="+mn-ea"/>
          <a:cs typeface="+mn-cs"/>
        </a:defRPr>
      </a:lvl1pPr>
      <a:lvl2pPr marL="38517" algn="l" defTabSz="38517" rtl="0" eaLnBrk="1" latinLnBrk="0" hangingPunct="1">
        <a:defRPr sz="148" kern="1200">
          <a:solidFill>
            <a:schemeClr val="tx1"/>
          </a:solidFill>
          <a:latin typeface="+mn-lt"/>
          <a:ea typeface="+mn-ea"/>
          <a:cs typeface="+mn-cs"/>
        </a:defRPr>
      </a:lvl2pPr>
      <a:lvl3pPr marL="77034" algn="l" defTabSz="38517" rtl="0" eaLnBrk="1" latinLnBrk="0" hangingPunct="1">
        <a:defRPr sz="148" kern="1200">
          <a:solidFill>
            <a:schemeClr val="tx1"/>
          </a:solidFill>
          <a:latin typeface="+mn-lt"/>
          <a:ea typeface="+mn-ea"/>
          <a:cs typeface="+mn-cs"/>
        </a:defRPr>
      </a:lvl3pPr>
      <a:lvl4pPr marL="115551" algn="l" defTabSz="38517" rtl="0" eaLnBrk="1" latinLnBrk="0" hangingPunct="1">
        <a:defRPr sz="148" kern="1200">
          <a:solidFill>
            <a:schemeClr val="tx1"/>
          </a:solidFill>
          <a:latin typeface="+mn-lt"/>
          <a:ea typeface="+mn-ea"/>
          <a:cs typeface="+mn-cs"/>
        </a:defRPr>
      </a:lvl4pPr>
      <a:lvl5pPr marL="154068" algn="l" defTabSz="38517" rtl="0" eaLnBrk="1" latinLnBrk="0" hangingPunct="1">
        <a:defRPr sz="148" kern="1200">
          <a:solidFill>
            <a:schemeClr val="tx1"/>
          </a:solidFill>
          <a:latin typeface="+mn-lt"/>
          <a:ea typeface="+mn-ea"/>
          <a:cs typeface="+mn-cs"/>
        </a:defRPr>
      </a:lvl5pPr>
      <a:lvl6pPr marL="192585" algn="l" defTabSz="38517" rtl="0" eaLnBrk="1" latinLnBrk="0" hangingPunct="1">
        <a:defRPr sz="148" kern="1200">
          <a:solidFill>
            <a:schemeClr val="tx1"/>
          </a:solidFill>
          <a:latin typeface="+mn-lt"/>
          <a:ea typeface="+mn-ea"/>
          <a:cs typeface="+mn-cs"/>
        </a:defRPr>
      </a:lvl6pPr>
      <a:lvl7pPr marL="231102" algn="l" defTabSz="38517" rtl="0" eaLnBrk="1" latinLnBrk="0" hangingPunct="1">
        <a:defRPr sz="148" kern="1200">
          <a:solidFill>
            <a:schemeClr val="tx1"/>
          </a:solidFill>
          <a:latin typeface="+mn-lt"/>
          <a:ea typeface="+mn-ea"/>
          <a:cs typeface="+mn-cs"/>
        </a:defRPr>
      </a:lvl7pPr>
      <a:lvl8pPr marL="269619" algn="l" defTabSz="38517" rtl="0" eaLnBrk="1" latinLnBrk="0" hangingPunct="1">
        <a:defRPr sz="148" kern="1200">
          <a:solidFill>
            <a:schemeClr val="tx1"/>
          </a:solidFill>
          <a:latin typeface="+mn-lt"/>
          <a:ea typeface="+mn-ea"/>
          <a:cs typeface="+mn-cs"/>
        </a:defRPr>
      </a:lvl8pPr>
      <a:lvl9pPr marL="308136" algn="l" defTabSz="38517" rtl="0" eaLnBrk="1" latinLnBrk="0" hangingPunct="1">
        <a:defRPr sz="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96">
          <p15:clr>
            <a:srgbClr val="F26B43"/>
          </p15:clr>
        </p15:guide>
        <p15:guide id="9" pos="28149">
          <p15:clr>
            <a:srgbClr val="F26B43"/>
          </p15:clr>
        </p15:guide>
        <p15:guide id="10" orient="horz" pos="278">
          <p15:clr>
            <a:srgbClr val="F26B43"/>
          </p15:clr>
        </p15:guide>
        <p15:guide id="11" orient="horz" pos="3232">
          <p15:clr>
            <a:srgbClr val="F26B43"/>
          </p15:clr>
        </p15:guide>
        <p15:guide id="13" orient="horz" pos="26052">
          <p15:clr>
            <a:srgbClr val="F26B43"/>
          </p15:clr>
        </p15:guide>
        <p15:guide id="14" orient="horz" pos="26935">
          <p15:clr>
            <a:srgbClr val="F26B43"/>
          </p15:clr>
        </p15:guide>
        <p15:guide id="16" pos="10205">
          <p15:clr>
            <a:srgbClr val="F26B43"/>
          </p15:clr>
        </p15:guide>
        <p15:guide id="17" pos="19913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FCAF6E03-570B-4878-AFA2-83EF2E42490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0DF3D12E-3962-4846-849F-CAAF5014D2D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366EC0-3E69-4454-9EC6-8971971CBB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7CAFF4-D021-4FD6-90EC-79D8C84A1D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C7851D-B600-48D5-9999-4C35407F7D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19EA899-1F91-49F6-86FB-62BB72EA39DB}" type="slidenum">
              <a:rPr lang="en-US">
                <a:solidFill>
                  <a:srgbClr val="333333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1208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2" r:id="rId1"/>
    <p:sldLayoutId id="2147484103" r:id="rId2"/>
    <p:sldLayoutId id="2147484104" r:id="rId3"/>
    <p:sldLayoutId id="2147484105" r:id="rId4"/>
    <p:sldLayoutId id="2147484106" r:id="rId5"/>
    <p:sldLayoutId id="2147484107" r:id="rId6"/>
    <p:sldLayoutId id="2147484108" r:id="rId7"/>
    <p:sldLayoutId id="2147484109" r:id="rId8"/>
    <p:sldLayoutId id="2147484110" r:id="rId9"/>
    <p:sldLayoutId id="2147484111" r:id="rId10"/>
    <p:sldLayoutId id="2147484112" r:id="rId11"/>
    <p:sldLayoutId id="2147484113" r:id="rId12"/>
    <p:sldLayoutId id="2147484114" r:id="rId13"/>
    <p:sldLayoutId id="2147484115" r:id="rId14"/>
    <p:sldLayoutId id="2147484116" r:id="rId15"/>
    <p:sldLayoutId id="2147484119" r:id="rId16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FCAF6E03-570B-4878-AFA2-83EF2E42490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0DF3D12E-3962-4846-849F-CAAF5014D2D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366EC0-3E69-4454-9EC6-8971971CBB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7CAFF4-D021-4FD6-90EC-79D8C84A1D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C7851D-B600-48D5-9999-4C35407F7D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19EA899-1F91-49F6-86FB-62BB72EA39DB}" type="slidenum">
              <a:rPr lang="en-US">
                <a:solidFill>
                  <a:srgbClr val="333333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44458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1" r:id="rId1"/>
    <p:sldLayoutId id="2147484122" r:id="rId2"/>
    <p:sldLayoutId id="2147484123" r:id="rId3"/>
    <p:sldLayoutId id="2147484124" r:id="rId4"/>
    <p:sldLayoutId id="2147484125" r:id="rId5"/>
    <p:sldLayoutId id="2147484126" r:id="rId6"/>
    <p:sldLayoutId id="2147484127" r:id="rId7"/>
    <p:sldLayoutId id="2147484128" r:id="rId8"/>
    <p:sldLayoutId id="2147484129" r:id="rId9"/>
    <p:sldLayoutId id="2147484130" r:id="rId10"/>
    <p:sldLayoutId id="2147484131" r:id="rId11"/>
    <p:sldLayoutId id="2147484132" r:id="rId12"/>
    <p:sldLayoutId id="2147484133" r:id="rId13"/>
    <p:sldLayoutId id="2147484134" r:id="rId14"/>
    <p:sldLayoutId id="2147484136" r:id="rId15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>
            <a:extLst>
              <a:ext uri="{FF2B5EF4-FFF2-40B4-BE49-F238E27FC236}">
                <a16:creationId xmlns:a16="http://schemas.microsoft.com/office/drawing/2014/main" id="{FCAF6E03-570B-4878-AFA2-83EF2E42490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>
            <a:extLst>
              <a:ext uri="{FF2B5EF4-FFF2-40B4-BE49-F238E27FC236}">
                <a16:creationId xmlns:a16="http://schemas.microsoft.com/office/drawing/2014/main" id="{0DF3D12E-3962-4846-849F-CAAF5014D2D7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366EC0-3E69-4454-9EC6-8971971CBB1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7CAFF4-D021-4FD6-90EC-79D8C84A1D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C7851D-B600-48D5-9999-4C35407F7D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19EA899-1F91-49F6-86FB-62BB72EA39DB}" type="slidenum">
              <a:rPr lang="en-US">
                <a:solidFill>
                  <a:srgbClr val="333333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333333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628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0" r:id="rId1"/>
    <p:sldLayoutId id="2147484141" r:id="rId2"/>
    <p:sldLayoutId id="2147484142" r:id="rId3"/>
    <p:sldLayoutId id="2147484143" r:id="rId4"/>
    <p:sldLayoutId id="2147484144" r:id="rId5"/>
    <p:sldLayoutId id="2147484145" r:id="rId6"/>
    <p:sldLayoutId id="2147484146" r:id="rId7"/>
    <p:sldLayoutId id="2147484147" r:id="rId8"/>
    <p:sldLayoutId id="2147484148" r:id="rId9"/>
    <p:sldLayoutId id="2147484149" r:id="rId10"/>
    <p:sldLayoutId id="2147484150" r:id="rId11"/>
    <p:sldLayoutId id="2147484151" r:id="rId12"/>
    <p:sldLayoutId id="2147484152" r:id="rId13"/>
    <p:sldLayoutId id="2147484153" r:id="rId14"/>
    <p:sldLayoutId id="2147484154" r:id="rId15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1C3972"/>
            </a:gs>
            <a:gs pos="100000">
              <a:srgbClr val="180A0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76767" y="109539"/>
            <a:ext cx="11438467" cy="1114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76767" y="1582738"/>
            <a:ext cx="11438467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91307043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4158" r:id="rId1"/>
    <p:sldLayoutId id="2147484159" r:id="rId2"/>
    <p:sldLayoutId id="2147484160" r:id="rId3"/>
    <p:sldLayoutId id="2147484161" r:id="rId4"/>
    <p:sldLayoutId id="2147484162" r:id="rId5"/>
    <p:sldLayoutId id="2147484163" r:id="rId6"/>
    <p:sldLayoutId id="2147484164" r:id="rId7"/>
    <p:sldLayoutId id="2147484165" r:id="rId8"/>
    <p:sldLayoutId id="2147484166" r:id="rId9"/>
    <p:sldLayoutId id="2147484167" r:id="rId10"/>
    <p:sldLayoutId id="2147484168" r:id="rId11"/>
    <p:sldLayoutId id="2147484171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ＭＳ Ｐゴシック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ＭＳ Ｐゴシック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ＭＳ Ｐゴシック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ＭＳ Ｐゴシック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9pPr>
    </p:titleStyle>
    <p:bodyStyle>
      <a:lvl1pPr marL="285750" indent="-285750" algn="l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Wingdings" charset="2"/>
        <a:buChar char="§"/>
        <a:defRPr sz="24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82625" indent="-282575" algn="l" rtl="0" eaLnBrk="0" fontAlgn="base" hangingPunct="0">
        <a:spcBef>
          <a:spcPct val="15000"/>
        </a:spcBef>
        <a:spcAft>
          <a:spcPct val="0"/>
        </a:spcAft>
        <a:buClr>
          <a:schemeClr val="tx2"/>
        </a:buClr>
        <a:buChar char="–"/>
        <a:defRPr sz="2400">
          <a:solidFill>
            <a:schemeClr val="tx1"/>
          </a:solidFill>
          <a:latin typeface="+mn-lt"/>
          <a:ea typeface="Arial" charset="0"/>
          <a:cs typeface="+mn-cs"/>
        </a:defRPr>
      </a:lvl2pPr>
      <a:lvl3pPr marL="968375" indent="-171450" algn="l" rtl="0" eaLnBrk="0" fontAlgn="base" hangingPunct="0">
        <a:spcBef>
          <a:spcPct val="15000"/>
        </a:spcBef>
        <a:spcAft>
          <a:spcPct val="0"/>
        </a:spcAft>
        <a:buClr>
          <a:schemeClr val="tx2"/>
        </a:buClr>
        <a:buChar char="•"/>
        <a:defRPr sz="2400">
          <a:solidFill>
            <a:schemeClr val="tx1"/>
          </a:solidFill>
          <a:latin typeface="+mn-lt"/>
          <a:ea typeface="Arial" charset="0"/>
          <a:cs typeface="+mn-cs"/>
        </a:defRPr>
      </a:lvl3pPr>
      <a:lvl4pPr marL="1254125" indent="-171450" algn="l" rtl="0" eaLnBrk="0" fontAlgn="base" hangingPunct="0"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-"/>
        <a:defRPr sz="2400">
          <a:solidFill>
            <a:schemeClr val="tx1"/>
          </a:solidFill>
          <a:latin typeface="+mn-lt"/>
          <a:ea typeface="Arial" charset="0"/>
          <a:cs typeface="+mn-cs"/>
        </a:defRPr>
      </a:lvl4pPr>
      <a:lvl5pPr marL="1597025" indent="-228600" algn="l" rtl="0" eaLnBrk="0" fontAlgn="base" hangingPunct="0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latin typeface="+mn-lt"/>
          <a:ea typeface="Arial" charset="0"/>
          <a:cs typeface="+mn-cs"/>
        </a:defRPr>
      </a:lvl5pPr>
      <a:lvl6pPr marL="2054225" indent="-228600" algn="l" rtl="0" fontAlgn="base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6pPr>
      <a:lvl7pPr marL="2511425" indent="-228600" algn="l" rtl="0" fontAlgn="base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7pPr>
      <a:lvl8pPr marL="2968625" indent="-228600" algn="l" rtl="0" fontAlgn="base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8pPr>
      <a:lvl9pPr marL="3425825" indent="-228600" algn="l" rtl="0" fontAlgn="base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1C3972"/>
            </a:gs>
            <a:gs pos="100000">
              <a:srgbClr val="180A0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Rectangle 2">
            <a:extLst>
              <a:ext uri="{FF2B5EF4-FFF2-40B4-BE49-F238E27FC236}">
                <a16:creationId xmlns:a16="http://schemas.microsoft.com/office/drawing/2014/main" id="{694AD59A-75C9-8C1A-D29D-C09C29C053B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76767" y="109539"/>
            <a:ext cx="11438467" cy="1114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387" name="Rectangle 3">
            <a:extLst>
              <a:ext uri="{FF2B5EF4-FFF2-40B4-BE49-F238E27FC236}">
                <a16:creationId xmlns:a16="http://schemas.microsoft.com/office/drawing/2014/main" id="{72E28404-503C-174A-7474-32CE0E51D1A2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76767" y="1582738"/>
            <a:ext cx="11438467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2349917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ＭＳ Ｐゴシック" panose="020B0600070205080204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ＭＳ Ｐゴシック" panose="020B0600070205080204" pitchFamily="34" charset="-128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ＭＳ Ｐゴシック" panose="020B0600070205080204" pitchFamily="34" charset="-128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ＭＳ Ｐゴシック" panose="020B0600070205080204" pitchFamily="34" charset="-128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ＭＳ Ｐゴシック" panose="020B0600070205080204" pitchFamily="34" charset="-128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9pPr>
    </p:titleStyle>
    <p:bodyStyle>
      <a:lvl1pPr marL="285750" indent="-285750" algn="l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ＭＳ Ｐゴシック" panose="020B0600070205080204" pitchFamily="34" charset="-128"/>
          <a:cs typeface="+mn-cs"/>
        </a:defRPr>
      </a:lvl1pPr>
      <a:lvl2pPr marL="682625" indent="-282575" algn="l" rtl="0" eaLnBrk="0" fontAlgn="base" hangingPunct="0">
        <a:spcBef>
          <a:spcPct val="15000"/>
        </a:spcBef>
        <a:spcAft>
          <a:spcPct val="0"/>
        </a:spcAft>
        <a:buClr>
          <a:schemeClr val="tx2"/>
        </a:buClr>
        <a:buChar char="–"/>
        <a:defRPr sz="2400">
          <a:solidFill>
            <a:schemeClr val="tx1"/>
          </a:solidFill>
          <a:latin typeface="+mn-lt"/>
          <a:ea typeface="Arial" charset="0"/>
          <a:cs typeface="+mn-cs"/>
        </a:defRPr>
      </a:lvl2pPr>
      <a:lvl3pPr marL="968375" indent="-171450" algn="l" rtl="0" eaLnBrk="0" fontAlgn="base" hangingPunct="0">
        <a:spcBef>
          <a:spcPct val="15000"/>
        </a:spcBef>
        <a:spcAft>
          <a:spcPct val="0"/>
        </a:spcAft>
        <a:buClr>
          <a:schemeClr val="tx2"/>
        </a:buClr>
        <a:buChar char="•"/>
        <a:defRPr sz="2400">
          <a:solidFill>
            <a:schemeClr val="tx1"/>
          </a:solidFill>
          <a:latin typeface="+mn-lt"/>
          <a:ea typeface="Arial" charset="0"/>
          <a:cs typeface="+mn-cs"/>
        </a:defRPr>
      </a:lvl3pPr>
      <a:lvl4pPr marL="1254125" indent="-171450" algn="l" rtl="0" eaLnBrk="0" fontAlgn="base" hangingPunct="0">
        <a:spcBef>
          <a:spcPct val="15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defRPr sz="2400">
          <a:solidFill>
            <a:schemeClr val="tx1"/>
          </a:solidFill>
          <a:latin typeface="+mn-lt"/>
          <a:ea typeface="Arial" charset="0"/>
          <a:cs typeface="+mn-cs"/>
        </a:defRPr>
      </a:lvl4pPr>
      <a:lvl5pPr marL="1597025" indent="-228600" algn="l" rtl="0" eaLnBrk="0" fontAlgn="base" hangingPunct="0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latin typeface="+mn-lt"/>
          <a:ea typeface="Arial" charset="0"/>
          <a:cs typeface="+mn-cs"/>
        </a:defRPr>
      </a:lvl5pPr>
      <a:lvl6pPr marL="2054225" indent="-228600" algn="l" rtl="0" fontAlgn="base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6pPr>
      <a:lvl7pPr marL="2511425" indent="-228600" algn="l" rtl="0" fontAlgn="base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7pPr>
      <a:lvl8pPr marL="2968625" indent="-228600" algn="l" rtl="0" fontAlgn="base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8pPr>
      <a:lvl9pPr marL="3425825" indent="-228600" algn="l" rtl="0" fontAlgn="base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1C3972"/>
            </a:gs>
            <a:gs pos="100000">
              <a:srgbClr val="180A0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Rectangle 2">
            <a:extLst>
              <a:ext uri="{FF2B5EF4-FFF2-40B4-BE49-F238E27FC236}">
                <a16:creationId xmlns:a16="http://schemas.microsoft.com/office/drawing/2014/main" id="{F33159C4-DDF0-6DB2-E914-915B7DE2B783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76767" y="109539"/>
            <a:ext cx="11438467" cy="1114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363" name="Rectangle 3">
            <a:extLst>
              <a:ext uri="{FF2B5EF4-FFF2-40B4-BE49-F238E27FC236}">
                <a16:creationId xmlns:a16="http://schemas.microsoft.com/office/drawing/2014/main" id="{3E31A1DE-1CEF-F5E7-31E9-9B39BBEC9D8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76767" y="1582738"/>
            <a:ext cx="11438467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2504902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ＭＳ Ｐゴシック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ＭＳ Ｐゴシック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ＭＳ Ｐゴシック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ＭＳ Ｐゴシック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9pPr>
    </p:titleStyle>
    <p:bodyStyle>
      <a:lvl1pPr marL="285750" indent="-285750" algn="l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82625" indent="-282575" algn="l" rtl="0" eaLnBrk="0" fontAlgn="base" hangingPunct="0">
        <a:spcBef>
          <a:spcPct val="15000"/>
        </a:spcBef>
        <a:spcAft>
          <a:spcPct val="0"/>
        </a:spcAft>
        <a:buClr>
          <a:schemeClr val="tx2"/>
        </a:buClr>
        <a:buChar char="–"/>
        <a:defRPr sz="2400">
          <a:solidFill>
            <a:schemeClr val="tx1"/>
          </a:solidFill>
          <a:latin typeface="+mn-lt"/>
          <a:ea typeface="Arial" charset="0"/>
          <a:cs typeface="+mn-cs"/>
        </a:defRPr>
      </a:lvl2pPr>
      <a:lvl3pPr marL="968375" indent="-171450" algn="l" rtl="0" eaLnBrk="0" fontAlgn="base" hangingPunct="0">
        <a:spcBef>
          <a:spcPct val="15000"/>
        </a:spcBef>
        <a:spcAft>
          <a:spcPct val="0"/>
        </a:spcAft>
        <a:buClr>
          <a:schemeClr val="tx2"/>
        </a:buClr>
        <a:buChar char="•"/>
        <a:defRPr sz="2400">
          <a:solidFill>
            <a:schemeClr val="tx1"/>
          </a:solidFill>
          <a:latin typeface="+mn-lt"/>
          <a:ea typeface="Arial" charset="0"/>
          <a:cs typeface="+mn-cs"/>
        </a:defRPr>
      </a:lvl3pPr>
      <a:lvl4pPr marL="1254125" indent="-171450" algn="l" rtl="0" eaLnBrk="0" fontAlgn="base" hangingPunct="0">
        <a:spcBef>
          <a:spcPct val="15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-"/>
        <a:defRPr sz="2400">
          <a:solidFill>
            <a:schemeClr val="tx1"/>
          </a:solidFill>
          <a:latin typeface="+mn-lt"/>
          <a:ea typeface="Arial" charset="0"/>
          <a:cs typeface="+mn-cs"/>
        </a:defRPr>
      </a:lvl4pPr>
      <a:lvl5pPr marL="1597025" indent="-228600" algn="l" rtl="0" eaLnBrk="0" fontAlgn="base" hangingPunct="0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latin typeface="+mn-lt"/>
          <a:ea typeface="Arial" charset="0"/>
          <a:cs typeface="+mn-cs"/>
        </a:defRPr>
      </a:lvl5pPr>
      <a:lvl6pPr marL="2054225" indent="-228600" algn="l" rtl="0" fontAlgn="base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6pPr>
      <a:lvl7pPr marL="2511425" indent="-228600" algn="l" rtl="0" fontAlgn="base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7pPr>
      <a:lvl8pPr marL="2968625" indent="-228600" algn="l" rtl="0" fontAlgn="base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8pPr>
      <a:lvl9pPr marL="3425825" indent="-228600" algn="l" rtl="0" fontAlgn="base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rotWithShape="0">
          <a:gsLst>
            <a:gs pos="0">
              <a:srgbClr val="1C3972"/>
            </a:gs>
            <a:gs pos="100000">
              <a:srgbClr val="180A0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76769" y="109573"/>
            <a:ext cx="11438467" cy="1114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76769" y="1582738"/>
            <a:ext cx="11438467" cy="4525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2361124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  <p:sldLayoutId id="2147483784" r:id="rId13"/>
    <p:sldLayoutId id="2147483785" r:id="rId14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+mj-lt"/>
          <a:ea typeface="ＭＳ Ｐゴシック" charset="0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ＭＳ Ｐゴシック" charset="0"/>
          <a:cs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ＭＳ Ｐゴシック" charset="0"/>
          <a:cs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ＭＳ Ｐゴシック" charset="0"/>
          <a:cs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ＭＳ Ｐゴシック" charset="0"/>
          <a:cs typeface="Arial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2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cs typeface="Arial" pitchFamily="34" charset="0"/>
        </a:defRPr>
      </a:lvl9pPr>
    </p:titleStyle>
    <p:bodyStyle>
      <a:lvl1pPr marL="285750" indent="-285750" algn="l" rtl="0" eaLnBrk="0" fontAlgn="base" hangingPunct="0">
        <a:spcBef>
          <a:spcPct val="75000"/>
        </a:spcBef>
        <a:spcAft>
          <a:spcPct val="0"/>
        </a:spcAft>
        <a:buClr>
          <a:schemeClr val="tx2"/>
        </a:buClr>
        <a:buFont typeface="Wingdings" charset="0"/>
        <a:buChar char="§"/>
        <a:defRPr sz="2400">
          <a:solidFill>
            <a:schemeClr val="tx1"/>
          </a:solidFill>
          <a:latin typeface="+mn-lt"/>
          <a:ea typeface="ＭＳ Ｐゴシック" charset="0"/>
          <a:cs typeface="+mn-cs"/>
        </a:defRPr>
      </a:lvl1pPr>
      <a:lvl2pPr marL="682625" indent="-282575" algn="l" rtl="0" eaLnBrk="0" fontAlgn="base" hangingPunct="0">
        <a:spcBef>
          <a:spcPct val="15000"/>
        </a:spcBef>
        <a:spcAft>
          <a:spcPct val="0"/>
        </a:spcAft>
        <a:buClr>
          <a:schemeClr val="tx2"/>
        </a:buClr>
        <a:buChar char="–"/>
        <a:defRPr sz="2400">
          <a:solidFill>
            <a:schemeClr val="tx1"/>
          </a:solidFill>
          <a:latin typeface="+mn-lt"/>
          <a:ea typeface="Arial" charset="0"/>
          <a:cs typeface="+mn-cs"/>
        </a:defRPr>
      </a:lvl2pPr>
      <a:lvl3pPr marL="968375" indent="-171450" algn="l" rtl="0" eaLnBrk="0" fontAlgn="base" hangingPunct="0">
        <a:spcBef>
          <a:spcPct val="15000"/>
        </a:spcBef>
        <a:spcAft>
          <a:spcPct val="0"/>
        </a:spcAft>
        <a:buClr>
          <a:schemeClr val="tx2"/>
        </a:buClr>
        <a:buChar char="•"/>
        <a:defRPr sz="2400">
          <a:solidFill>
            <a:schemeClr val="tx1"/>
          </a:solidFill>
          <a:latin typeface="+mn-lt"/>
          <a:ea typeface="Arial" charset="0"/>
          <a:cs typeface="+mn-cs"/>
        </a:defRPr>
      </a:lvl3pPr>
      <a:lvl4pPr marL="1254125" indent="-171450" algn="l" rtl="0" eaLnBrk="0" fontAlgn="base" hangingPunct="0">
        <a:spcBef>
          <a:spcPct val="15000"/>
        </a:spcBef>
        <a:spcAft>
          <a:spcPct val="0"/>
        </a:spcAft>
        <a:buClr>
          <a:schemeClr val="tx2"/>
        </a:buClr>
        <a:buFont typeface="Arial" charset="0"/>
        <a:buChar char="-"/>
        <a:defRPr sz="2400">
          <a:solidFill>
            <a:schemeClr val="tx1"/>
          </a:solidFill>
          <a:latin typeface="+mn-lt"/>
          <a:ea typeface="Arial" charset="0"/>
          <a:cs typeface="+mn-cs"/>
        </a:defRPr>
      </a:lvl4pPr>
      <a:lvl5pPr marL="1597025" indent="-228600" algn="l" rtl="0" eaLnBrk="0" fontAlgn="base" hangingPunct="0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latin typeface="+mn-lt"/>
          <a:ea typeface="Arial" charset="0"/>
          <a:cs typeface="+mn-cs"/>
        </a:defRPr>
      </a:lvl5pPr>
      <a:lvl6pPr marL="2054225" indent="-228600" algn="l" rtl="0" fontAlgn="base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6pPr>
      <a:lvl7pPr marL="2511425" indent="-228600" algn="l" rtl="0" fontAlgn="base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7pPr>
      <a:lvl8pPr marL="2968625" indent="-228600" algn="l" rtl="0" fontAlgn="base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8pPr>
      <a:lvl9pPr marL="3425825" indent="-228600" algn="l" rtl="0" fontAlgn="base">
        <a:spcBef>
          <a:spcPct val="15000"/>
        </a:spcBef>
        <a:spcAft>
          <a:spcPct val="0"/>
        </a:spcAft>
        <a:buClr>
          <a:schemeClr val="tx2"/>
        </a:buClr>
        <a:buChar char="»"/>
        <a:defRPr sz="2400">
          <a:solidFill>
            <a:schemeClr val="tx1"/>
          </a:solidFill>
          <a:effectLst>
            <a:outerShdw blurRad="38100" dist="38100" dir="2700000" algn="tl">
              <a:srgbClr val="000000"/>
            </a:outerShdw>
          </a:effectLst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CSFBLOGO" descr="Credit Suisse" hidden="1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4200" y="6354767"/>
            <a:ext cx="2220384" cy="36353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</p:pic>
      <p:sp>
        <p:nvSpPr>
          <p:cNvPr id="1028" name="Conf Stamp - Slide Master" hidden="1"/>
          <p:cNvSpPr txBox="1">
            <a:spLocks noChangeArrowheads="1"/>
          </p:cNvSpPr>
          <p:nvPr userDrawn="1"/>
        </p:nvSpPr>
        <p:spPr bwMode="auto">
          <a:xfrm>
            <a:off x="137584" y="83453"/>
            <a:ext cx="2133600" cy="103875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b">
            <a:spAutoFit/>
          </a:bodyPr>
          <a:lstStyle>
            <a:lvl1pPr defTabSz="950913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950913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950913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950913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950913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950913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r>
              <a:rPr lang="en-US" sz="675" b="1" noProof="1">
                <a:solidFill>
                  <a:prstClr val="black"/>
                </a:solidFill>
              </a:rPr>
              <a:t>CONFIDENTIAL</a:t>
            </a:r>
          </a:p>
        </p:txBody>
      </p:sp>
      <p:sp>
        <p:nvSpPr>
          <p:cNvPr id="1029" name="Draft Stamp - Slide Master" hidden="1"/>
          <p:cNvSpPr txBox="1">
            <a:spLocks noChangeArrowheads="1"/>
          </p:cNvSpPr>
          <p:nvPr/>
        </p:nvSpPr>
        <p:spPr bwMode="ltGray">
          <a:xfrm>
            <a:off x="0" y="1371603"/>
            <a:ext cx="914400" cy="258532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defTabSz="685768">
              <a:spcBef>
                <a:spcPct val="50000"/>
              </a:spcBef>
              <a:defRPr/>
            </a:pPr>
            <a:r>
              <a:rPr lang="en-US" sz="4050" noProof="1">
                <a:solidFill>
                  <a:srgbClr val="C0C0C0"/>
                </a:solidFill>
                <a:latin typeface="Arial Black" pitchFamily="34" charset="0"/>
              </a:rPr>
              <a:t>DRAFT</a:t>
            </a:r>
          </a:p>
        </p:txBody>
      </p:sp>
      <p:sp>
        <p:nvSpPr>
          <p:cNvPr id="1030" name="Title - Slide Master"/>
          <p:cNvSpPr>
            <a:spLocks noGrp="1" noChangeArrowheads="1"/>
          </p:cNvSpPr>
          <p:nvPr>
            <p:ph type="title"/>
          </p:nvPr>
        </p:nvSpPr>
        <p:spPr bwMode="auto">
          <a:xfrm>
            <a:off x="596902" y="234954"/>
            <a:ext cx="11010900" cy="822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</a:t>
            </a:r>
            <a:r>
              <a:rPr lang="en-US"/>
              <a:t>title style</a:t>
            </a:r>
            <a:endParaRPr lang="en-US" dirty="0"/>
          </a:p>
        </p:txBody>
      </p:sp>
      <p:sp>
        <p:nvSpPr>
          <p:cNvPr id="1031" name="SubTitle - Slide Master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6902" y="1499312"/>
            <a:ext cx="11010900" cy="2283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r>
              <a:rPr lang="en-US" dirty="0"/>
              <a:t>Second bullet</a:t>
            </a:r>
          </a:p>
        </p:txBody>
      </p:sp>
      <p:pic>
        <p:nvPicPr>
          <p:cNvPr id="12" name="Picture 11" descr="ApellisLogoUpdated.png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5655" y="6360093"/>
            <a:ext cx="1076498" cy="344978"/>
          </a:xfrm>
          <a:prstGeom prst="rect">
            <a:avLst/>
          </a:prstGeom>
          <a:noFill/>
          <a:ln>
            <a:noFill/>
          </a:ln>
        </p:spPr>
      </p:pic>
      <p:sp>
        <p:nvSpPr>
          <p:cNvPr id="1027" name="Line - Slide Master"/>
          <p:cNvSpPr>
            <a:spLocks noChangeAspect="1" noChangeShapeType="1"/>
          </p:cNvSpPr>
          <p:nvPr/>
        </p:nvSpPr>
        <p:spPr bwMode="auto">
          <a:xfrm>
            <a:off x="596903" y="1101725"/>
            <a:ext cx="11201808" cy="0"/>
          </a:xfrm>
          <a:prstGeom prst="line">
            <a:avLst/>
          </a:prstGeom>
          <a:noFill/>
          <a:ln w="25400">
            <a:solidFill>
              <a:srgbClr val="FF6600"/>
            </a:solidFill>
            <a:round/>
            <a:headEnd/>
            <a:tailEnd/>
          </a:ln>
        </p:spPr>
        <p:txBody>
          <a:bodyPr wrap="none" tIns="9143" bIns="9143" anchor="ctr"/>
          <a:lstStyle/>
          <a:p>
            <a:pPr defTabSz="685768">
              <a:defRPr/>
            </a:pPr>
            <a:endParaRPr lang="en-US" sz="900">
              <a:solidFill>
                <a:prstClr val="black"/>
              </a:solidFill>
            </a:endParaRPr>
          </a:p>
        </p:txBody>
      </p:sp>
      <p:sp>
        <p:nvSpPr>
          <p:cNvPr id="13" name="Oval 12"/>
          <p:cNvSpPr/>
          <p:nvPr userDrawn="1"/>
        </p:nvSpPr>
        <p:spPr>
          <a:xfrm>
            <a:off x="11653115" y="981075"/>
            <a:ext cx="228600" cy="228600"/>
          </a:xfrm>
          <a:prstGeom prst="ellipse">
            <a:avLst/>
          </a:prstGeom>
          <a:solidFill>
            <a:srgbClr val="FF6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8"/>
            <a:endParaRPr lang="en-US" sz="900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 userDrawn="1">
            <p:ph type="sldNum" sz="quarter" idx="4"/>
          </p:nvPr>
        </p:nvSpPr>
        <p:spPr>
          <a:xfrm>
            <a:off x="10656541" y="6356352"/>
            <a:ext cx="12378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defTabSz="554492" fontAlgn="auto">
              <a:spcBef>
                <a:spcPts val="0"/>
              </a:spcBef>
              <a:spcAft>
                <a:spcPts val="0"/>
              </a:spcAft>
            </a:pPr>
            <a:fld id="{3E2BEB0B-C5C6-E843-A496-21C45521C33B}" type="slidenum">
              <a:rPr lang="en-US" smtClean="0">
                <a:solidFill>
                  <a:srgbClr val="086BB0"/>
                </a:solidFill>
              </a:rPr>
              <a:pPr defTabSz="554492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086BB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569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</p:sldLayoutIdLst>
  <p:transition spd="slow"/>
  <p:hf hdr="0" ftr="0" dt="0"/>
  <p:txStyles>
    <p:titleStyle>
      <a:lvl1pPr algn="ctr" defTabSz="546472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2400" b="0">
          <a:solidFill>
            <a:schemeClr val="accent3"/>
          </a:solidFill>
          <a:latin typeface="Arial" charset="0"/>
          <a:ea typeface="Arial" charset="0"/>
          <a:cs typeface="Arial" charset="0"/>
        </a:defRPr>
      </a:lvl1pPr>
      <a:lvl2pPr algn="l" defTabSz="546472" rtl="0" eaLnBrk="0" fontAlgn="base" hangingPunct="0">
        <a:lnSpc>
          <a:spcPts val="2025"/>
        </a:lnSpc>
        <a:spcBef>
          <a:spcPct val="0"/>
        </a:spcBef>
        <a:spcAft>
          <a:spcPct val="0"/>
        </a:spcAft>
        <a:defRPr sz="1800" b="1">
          <a:solidFill>
            <a:srgbClr val="002060"/>
          </a:solidFill>
          <a:latin typeface="Arial" charset="0"/>
        </a:defRPr>
      </a:lvl2pPr>
      <a:lvl3pPr algn="l" defTabSz="546472" rtl="0" eaLnBrk="0" fontAlgn="base" hangingPunct="0">
        <a:lnSpc>
          <a:spcPts val="2025"/>
        </a:lnSpc>
        <a:spcBef>
          <a:spcPct val="0"/>
        </a:spcBef>
        <a:spcAft>
          <a:spcPct val="0"/>
        </a:spcAft>
        <a:defRPr sz="1800" b="1">
          <a:solidFill>
            <a:srgbClr val="002060"/>
          </a:solidFill>
          <a:latin typeface="Arial" charset="0"/>
        </a:defRPr>
      </a:lvl3pPr>
      <a:lvl4pPr algn="l" defTabSz="546472" rtl="0" eaLnBrk="0" fontAlgn="base" hangingPunct="0">
        <a:lnSpc>
          <a:spcPts val="2025"/>
        </a:lnSpc>
        <a:spcBef>
          <a:spcPct val="0"/>
        </a:spcBef>
        <a:spcAft>
          <a:spcPct val="0"/>
        </a:spcAft>
        <a:defRPr sz="1800" b="1">
          <a:solidFill>
            <a:srgbClr val="002060"/>
          </a:solidFill>
          <a:latin typeface="Arial" charset="0"/>
        </a:defRPr>
      </a:lvl4pPr>
      <a:lvl5pPr algn="l" defTabSz="546472" rtl="0" eaLnBrk="0" fontAlgn="base" hangingPunct="0">
        <a:lnSpc>
          <a:spcPts val="2025"/>
        </a:lnSpc>
        <a:spcBef>
          <a:spcPct val="0"/>
        </a:spcBef>
        <a:spcAft>
          <a:spcPct val="0"/>
        </a:spcAft>
        <a:defRPr sz="1800" b="1">
          <a:solidFill>
            <a:srgbClr val="002060"/>
          </a:solidFill>
          <a:latin typeface="Arial" charset="0"/>
        </a:defRPr>
      </a:lvl5pPr>
      <a:lvl6pPr marL="342884" algn="l" defTabSz="546472" rtl="0" fontAlgn="base">
        <a:lnSpc>
          <a:spcPts val="2025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" charset="0"/>
        </a:defRPr>
      </a:lvl6pPr>
      <a:lvl7pPr marL="685768" algn="l" defTabSz="546472" rtl="0" fontAlgn="base">
        <a:lnSpc>
          <a:spcPts val="2025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" charset="0"/>
        </a:defRPr>
      </a:lvl7pPr>
      <a:lvl8pPr marL="1028652" algn="l" defTabSz="546472" rtl="0" fontAlgn="base">
        <a:lnSpc>
          <a:spcPts val="2025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" charset="0"/>
        </a:defRPr>
      </a:lvl8pPr>
      <a:lvl9pPr marL="1371536" algn="l" defTabSz="546472" rtl="0" fontAlgn="base">
        <a:lnSpc>
          <a:spcPts val="2025"/>
        </a:lnSpc>
        <a:spcBef>
          <a:spcPct val="0"/>
        </a:spcBef>
        <a:spcAft>
          <a:spcPct val="0"/>
        </a:spcAft>
        <a:defRPr sz="1800" b="1">
          <a:solidFill>
            <a:schemeClr val="tx1"/>
          </a:solidFill>
          <a:latin typeface="Arial" charset="0"/>
        </a:defRPr>
      </a:lvl9pPr>
    </p:titleStyle>
    <p:bodyStyle>
      <a:lvl1pPr marL="172633" indent="-172633" algn="l" rtl="0" eaLnBrk="0" fontAlgn="base" hangingPunct="0">
        <a:lnSpc>
          <a:spcPct val="100000"/>
        </a:lnSpc>
        <a:spcBef>
          <a:spcPts val="300"/>
        </a:spcBef>
        <a:spcAft>
          <a:spcPts val="450"/>
        </a:spcAft>
        <a:buClr>
          <a:schemeClr val="accent1"/>
        </a:buClr>
        <a:buSzPct val="110000"/>
        <a:buFont typeface="Arial" panose="020B0604020202020204" pitchFamily="34" charset="0"/>
        <a:buChar char="•"/>
        <a:defRPr sz="1800">
          <a:solidFill>
            <a:schemeClr val="tx2"/>
          </a:solidFill>
          <a:latin typeface="Arial" charset="0"/>
          <a:ea typeface="Arial" charset="0"/>
          <a:cs typeface="Arial" charset="0"/>
        </a:defRPr>
      </a:lvl1pPr>
      <a:lvl2pPr marL="342884" indent="-169061" algn="l" rtl="0" eaLnBrk="0" fontAlgn="base" hangingPunct="0">
        <a:lnSpc>
          <a:spcPct val="100000"/>
        </a:lnSpc>
        <a:spcBef>
          <a:spcPts val="0"/>
        </a:spcBef>
        <a:spcAft>
          <a:spcPts val="450"/>
        </a:spcAft>
        <a:buClr>
          <a:schemeClr val="accent1"/>
        </a:buClr>
        <a:buFont typeface="Calibri" panose="020F0502020204030204" pitchFamily="34" charset="0"/>
        <a:buChar char="‒"/>
        <a:defRPr sz="1600">
          <a:solidFill>
            <a:schemeClr val="tx2"/>
          </a:solidFill>
          <a:latin typeface="Arial" charset="0"/>
          <a:ea typeface="Arial" charset="0"/>
          <a:cs typeface="Arial" charset="0"/>
        </a:defRPr>
      </a:lvl2pPr>
      <a:lvl3pPr marL="513136" indent="-169061" algn="l" rtl="0" eaLnBrk="0" fontAlgn="base" hangingPunct="0">
        <a:lnSpc>
          <a:spcPct val="100000"/>
        </a:lnSpc>
        <a:spcBef>
          <a:spcPts val="0"/>
        </a:spcBef>
        <a:spcAft>
          <a:spcPts val="225"/>
        </a:spcAft>
        <a:buClr>
          <a:schemeClr val="accent1"/>
        </a:buClr>
        <a:buFont typeface="Wingdings" panose="05000000000000000000" pitchFamily="2" charset="2"/>
        <a:buChar char="§"/>
        <a:defRPr sz="1400">
          <a:solidFill>
            <a:schemeClr val="tx2"/>
          </a:solidFill>
          <a:latin typeface="Arial" charset="0"/>
          <a:ea typeface="Arial" charset="0"/>
          <a:cs typeface="Arial" charset="0"/>
        </a:defRPr>
      </a:lvl3pPr>
      <a:lvl4pPr marL="684578" indent="-170252" algn="l" rtl="0" eaLnBrk="0" fontAlgn="base" hangingPunct="0">
        <a:lnSpc>
          <a:spcPct val="100000"/>
        </a:lnSpc>
        <a:spcBef>
          <a:spcPts val="0"/>
        </a:spcBef>
        <a:spcAft>
          <a:spcPts val="225"/>
        </a:spcAft>
        <a:buClr>
          <a:schemeClr val="accent1"/>
        </a:buClr>
        <a:buFont typeface="Calibri" panose="020F0502020204030204" pitchFamily="34" charset="0"/>
        <a:buChar char="‒"/>
        <a:defRPr sz="1200">
          <a:solidFill>
            <a:schemeClr val="tx2"/>
          </a:solidFill>
          <a:latin typeface="Arial" charset="0"/>
          <a:ea typeface="Arial" charset="0"/>
          <a:cs typeface="Arial" charset="0"/>
        </a:defRPr>
      </a:lvl4pPr>
      <a:lvl5pPr marL="856020" indent="-170252" algn="l" rtl="0" eaLnBrk="0" fontAlgn="base" hangingPunct="0">
        <a:lnSpc>
          <a:spcPct val="100000"/>
        </a:lnSpc>
        <a:spcBef>
          <a:spcPts val="0"/>
        </a:spcBef>
        <a:spcAft>
          <a:spcPts val="225"/>
        </a:spcAft>
        <a:buClr>
          <a:schemeClr val="accent1"/>
        </a:buClr>
        <a:buFont typeface="Calibri" panose="020F0502020204030204" pitchFamily="34" charset="0"/>
        <a:buChar char="‒"/>
        <a:defRPr sz="1000">
          <a:solidFill>
            <a:schemeClr val="tx2"/>
          </a:solidFill>
          <a:latin typeface="Arial" charset="0"/>
          <a:ea typeface="Arial" charset="0"/>
          <a:cs typeface="Arial" charset="0"/>
        </a:defRPr>
      </a:lvl5pPr>
      <a:lvl6pPr marL="1198904" indent="-170252" algn="l" rtl="0" fontAlgn="base">
        <a:spcBef>
          <a:spcPct val="25000"/>
        </a:spcBef>
        <a:spcAft>
          <a:spcPct val="0"/>
        </a:spcAft>
        <a:buClr>
          <a:srgbClr val="0066CC"/>
        </a:buClr>
        <a:buSzPct val="110000"/>
        <a:buFont typeface="Wingdings" pitchFamily="2" charset="2"/>
        <a:buChar char="§"/>
        <a:defRPr sz="1050">
          <a:solidFill>
            <a:schemeClr val="tx1"/>
          </a:solidFill>
          <a:latin typeface="+mn-lt"/>
        </a:defRPr>
      </a:lvl6pPr>
      <a:lvl7pPr marL="1541788" indent="-170252" algn="l" rtl="0" fontAlgn="base">
        <a:spcBef>
          <a:spcPct val="25000"/>
        </a:spcBef>
        <a:spcAft>
          <a:spcPct val="0"/>
        </a:spcAft>
        <a:buClr>
          <a:srgbClr val="0066CC"/>
        </a:buClr>
        <a:buSzPct val="110000"/>
        <a:buFont typeface="Wingdings" pitchFamily="2" charset="2"/>
        <a:buChar char="§"/>
        <a:defRPr sz="1050">
          <a:solidFill>
            <a:schemeClr val="tx1"/>
          </a:solidFill>
          <a:latin typeface="+mn-lt"/>
        </a:defRPr>
      </a:lvl7pPr>
      <a:lvl8pPr marL="1884672" indent="-170252" algn="l" rtl="0" fontAlgn="base">
        <a:spcBef>
          <a:spcPct val="25000"/>
        </a:spcBef>
        <a:spcAft>
          <a:spcPct val="0"/>
        </a:spcAft>
        <a:buClr>
          <a:srgbClr val="0066CC"/>
        </a:buClr>
        <a:buSzPct val="110000"/>
        <a:buFont typeface="Wingdings" pitchFamily="2" charset="2"/>
        <a:buChar char="§"/>
        <a:defRPr sz="1050">
          <a:solidFill>
            <a:schemeClr val="tx1"/>
          </a:solidFill>
          <a:latin typeface="+mn-lt"/>
        </a:defRPr>
      </a:lvl8pPr>
      <a:lvl9pPr marL="2227556" indent="-170252" algn="l" rtl="0" fontAlgn="base">
        <a:spcBef>
          <a:spcPct val="25000"/>
        </a:spcBef>
        <a:spcAft>
          <a:spcPct val="0"/>
        </a:spcAft>
        <a:buClr>
          <a:srgbClr val="0066CC"/>
        </a:buClr>
        <a:buSzPct val="110000"/>
        <a:buFont typeface="Wingdings" pitchFamily="2" charset="2"/>
        <a:buChar char="§"/>
        <a:defRPr sz="105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76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4" algn="l" defTabSz="68576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68" algn="l" defTabSz="68576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52" algn="l" defTabSz="68576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36" algn="l" defTabSz="68576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21" algn="l" defTabSz="68576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05" algn="l" defTabSz="68576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89" algn="l" defTabSz="68576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073" algn="l" defTabSz="685768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E21148-7E8F-BE46-AEC1-7258941F9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3" y="216000"/>
            <a:ext cx="11061733" cy="878012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069424-D0AB-3348-8150-928B7970CD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0863" y="1304925"/>
            <a:ext cx="11061733" cy="46092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A99F87-B6A1-8F44-A974-B177D4392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50863" y="6024254"/>
            <a:ext cx="11082337" cy="595540"/>
          </a:xfrm>
          <a:prstGeom prst="rect">
            <a:avLst/>
          </a:prstGeom>
        </p:spPr>
        <p:txBody>
          <a:bodyPr vert="horz" lIns="91440" tIns="45720" rIns="91440" bIns="45720" rtlCol="0" anchor="b" anchorCtr="0"/>
          <a:lstStyle>
            <a:lvl1pPr algn="l">
              <a:spcBef>
                <a:spcPts val="200"/>
              </a:spcBef>
              <a:defRPr sz="900" spc="0" baseline="0">
                <a:solidFill>
                  <a:srgbClr val="4A4F55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04BD6FA-91B4-0A41-ADBE-71A2EEE5F834}"/>
              </a:ext>
            </a:extLst>
          </p:cNvPr>
          <p:cNvSpPr txBox="1">
            <a:spLocks/>
          </p:cNvSpPr>
          <p:nvPr userDrawn="1"/>
        </p:nvSpPr>
        <p:spPr>
          <a:xfrm>
            <a:off x="11783293" y="6511137"/>
            <a:ext cx="378480" cy="327813"/>
          </a:xfrm>
          <a:prstGeom prst="rect">
            <a:avLst/>
          </a:prstGeom>
        </p:spPr>
        <p:txBody>
          <a:bodyPr vert="horz" wrap="none" lIns="91430" tIns="45715" rIns="91430" bIns="45715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b="1" i="0" kern="1200">
                <a:solidFill>
                  <a:schemeClr val="tx1"/>
                </a:solidFill>
                <a:latin typeface="Arial Narrow"/>
                <a:ea typeface="+mn-ea"/>
                <a:cs typeface="Arial Narrow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CD838387-D4D9-7944-8A48-BC43CBF3921B}" type="slidenum">
              <a:rPr lang="en-US" sz="900" b="0" i="0" spc="50" baseline="0" smtClean="0">
                <a:solidFill>
                  <a:srgbClr val="4A4F5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900" b="0" i="0" spc="50" baseline="0">
              <a:solidFill>
                <a:srgbClr val="4A4F5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29478E5-DF16-3E4A-BA64-5CE6FAFF8B29}"/>
              </a:ext>
            </a:extLst>
          </p:cNvPr>
          <p:cNvCxnSpPr>
            <a:cxnSpLocks/>
          </p:cNvCxnSpPr>
          <p:nvPr userDrawn="1"/>
        </p:nvCxnSpPr>
        <p:spPr>
          <a:xfrm>
            <a:off x="533550" y="1189632"/>
            <a:ext cx="11651083" cy="0"/>
          </a:xfrm>
          <a:prstGeom prst="line">
            <a:avLst/>
          </a:prstGeom>
          <a:ln w="53975" cap="rnd"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AA3CFBA2-C3B5-4999-A1F7-E8F1421C0CD1}"/>
              </a:ext>
            </a:extLst>
          </p:cNvPr>
          <p:cNvSpPr txBox="1"/>
          <p:nvPr userDrawn="1"/>
        </p:nvSpPr>
        <p:spPr>
          <a:xfrm>
            <a:off x="3600450" y="6620967"/>
            <a:ext cx="5029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800" b="0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t>For Disease Educational Use by Apellis MSLs only</a:t>
            </a:r>
            <a:endParaRPr lang="en-US" sz="800" spc="50" baseline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0F7D0543-8166-4992-9BAF-FEE2463C7AB1}"/>
              </a:ext>
            </a:extLst>
          </p:cNvPr>
          <p:cNvSpPr/>
          <p:nvPr userDrawn="1"/>
        </p:nvSpPr>
        <p:spPr>
          <a:xfrm>
            <a:off x="11356340" y="91440"/>
            <a:ext cx="737541" cy="25933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solidFill>
              <a:srgbClr val="B3AC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rIns="45720" rtlCol="0" anchor="ctr"/>
          <a:lstStyle/>
          <a:p>
            <a:pPr algn="r"/>
            <a:r>
              <a:rPr lang="en-US" sz="1200" b="1" i="0" spc="0" baseline="0">
                <a:solidFill>
                  <a:srgbClr val="B3ACA7"/>
                </a:solidFill>
              </a:rPr>
              <a:t>Home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C3226AD-46A0-45C5-BE79-21D39350739D}"/>
              </a:ext>
            </a:extLst>
          </p:cNvPr>
          <p:cNvSpPr/>
          <p:nvPr userDrawn="1"/>
        </p:nvSpPr>
        <p:spPr>
          <a:xfrm>
            <a:off x="11405678" y="133773"/>
            <a:ext cx="167198" cy="164454"/>
          </a:xfrm>
          <a:custGeom>
            <a:avLst/>
            <a:gdLst>
              <a:gd name="connsiteX0" fmla="*/ 84888 w 644996"/>
              <a:gd name="connsiteY0" fmla="*/ 294465 h 634417"/>
              <a:gd name="connsiteX1" fmla="*/ 560108 w 644996"/>
              <a:gd name="connsiteY1" fmla="*/ 294465 h 634417"/>
              <a:gd name="connsiteX2" fmla="*/ 560108 w 644996"/>
              <a:gd name="connsiteY2" fmla="*/ 634417 h 634417"/>
              <a:gd name="connsiteX3" fmla="*/ 377673 w 644996"/>
              <a:gd name="connsiteY3" fmla="*/ 634417 h 634417"/>
              <a:gd name="connsiteX4" fmla="*/ 377673 w 644996"/>
              <a:gd name="connsiteY4" fmla="*/ 479703 h 634417"/>
              <a:gd name="connsiteX5" fmla="*/ 361520 w 644996"/>
              <a:gd name="connsiteY5" fmla="*/ 463550 h 634417"/>
              <a:gd name="connsiteX6" fmla="*/ 290595 w 644996"/>
              <a:gd name="connsiteY6" fmla="*/ 463550 h 634417"/>
              <a:gd name="connsiteX7" fmla="*/ 274442 w 644996"/>
              <a:gd name="connsiteY7" fmla="*/ 479703 h 634417"/>
              <a:gd name="connsiteX8" fmla="*/ 274442 w 644996"/>
              <a:gd name="connsiteY8" fmla="*/ 634417 h 634417"/>
              <a:gd name="connsiteX9" fmla="*/ 84888 w 644996"/>
              <a:gd name="connsiteY9" fmla="*/ 634417 h 634417"/>
              <a:gd name="connsiteX10" fmla="*/ 462045 w 644996"/>
              <a:gd name="connsiteY10" fmla="*/ 0 h 634417"/>
              <a:gd name="connsiteX11" fmla="*/ 532970 w 644996"/>
              <a:gd name="connsiteY11" fmla="*/ 0 h 634417"/>
              <a:gd name="connsiteX12" fmla="*/ 549123 w 644996"/>
              <a:gd name="connsiteY12" fmla="*/ 16153 h 634417"/>
              <a:gd name="connsiteX13" fmla="*/ 549123 w 644996"/>
              <a:gd name="connsiteY13" fmla="*/ 176505 h 634417"/>
              <a:gd name="connsiteX14" fmla="*/ 636363 w 644996"/>
              <a:gd name="connsiteY14" fmla="*/ 246030 h 634417"/>
              <a:gd name="connsiteX15" fmla="*/ 636800 w 644996"/>
              <a:gd name="connsiteY15" fmla="*/ 246870 h 634417"/>
              <a:gd name="connsiteX16" fmla="*/ 637805 w 644996"/>
              <a:gd name="connsiteY16" fmla="*/ 247202 h 634417"/>
              <a:gd name="connsiteX17" fmla="*/ 644996 w 644996"/>
              <a:gd name="connsiteY17" fmla="*/ 261038 h 634417"/>
              <a:gd name="connsiteX18" fmla="*/ 620444 w 644996"/>
              <a:gd name="connsiteY18" fmla="*/ 280604 h 634417"/>
              <a:gd name="connsiteX19" fmla="*/ 38657 w 644996"/>
              <a:gd name="connsiteY19" fmla="*/ 280604 h 634417"/>
              <a:gd name="connsiteX20" fmla="*/ 29830 w 644996"/>
              <a:gd name="connsiteY20" fmla="*/ 277690 h 634417"/>
              <a:gd name="connsiteX21" fmla="*/ 24552 w 644996"/>
              <a:gd name="connsiteY21" fmla="*/ 279432 h 634417"/>
              <a:gd name="connsiteX22" fmla="*/ 7190 w 644996"/>
              <a:gd name="connsiteY22" fmla="*/ 273702 h 634417"/>
              <a:gd name="connsiteX23" fmla="*/ 7190 w 644996"/>
              <a:gd name="connsiteY23" fmla="*/ 246030 h 634417"/>
              <a:gd name="connsiteX24" fmla="*/ 303264 w 644996"/>
              <a:gd name="connsiteY24" fmla="*/ 10077 h 634417"/>
              <a:gd name="connsiteX25" fmla="*/ 320625 w 644996"/>
              <a:gd name="connsiteY25" fmla="*/ 4347 h 634417"/>
              <a:gd name="connsiteX26" fmla="*/ 321776 w 644996"/>
              <a:gd name="connsiteY26" fmla="*/ 4727 h 634417"/>
              <a:gd name="connsiteX27" fmla="*/ 322929 w 644996"/>
              <a:gd name="connsiteY27" fmla="*/ 4347 h 634417"/>
              <a:gd name="connsiteX28" fmla="*/ 340290 w 644996"/>
              <a:gd name="connsiteY28" fmla="*/ 10077 h 634417"/>
              <a:gd name="connsiteX29" fmla="*/ 445892 w 644996"/>
              <a:gd name="connsiteY29" fmla="*/ 94236 h 634417"/>
              <a:gd name="connsiteX30" fmla="*/ 445892 w 644996"/>
              <a:gd name="connsiteY30" fmla="*/ 16153 h 634417"/>
              <a:gd name="connsiteX31" fmla="*/ 462045 w 644996"/>
              <a:gd name="connsiteY31" fmla="*/ 0 h 6344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644996" h="634417">
                <a:moveTo>
                  <a:pt x="84888" y="294465"/>
                </a:moveTo>
                <a:lnTo>
                  <a:pt x="560108" y="294465"/>
                </a:lnTo>
                <a:lnTo>
                  <a:pt x="560108" y="634417"/>
                </a:lnTo>
                <a:lnTo>
                  <a:pt x="377673" y="634417"/>
                </a:lnTo>
                <a:lnTo>
                  <a:pt x="377673" y="479703"/>
                </a:lnTo>
                <a:cubicBezTo>
                  <a:pt x="377673" y="470782"/>
                  <a:pt x="370441" y="463550"/>
                  <a:pt x="361520" y="463550"/>
                </a:cubicBezTo>
                <a:lnTo>
                  <a:pt x="290595" y="463550"/>
                </a:lnTo>
                <a:cubicBezTo>
                  <a:pt x="281674" y="463550"/>
                  <a:pt x="274442" y="470782"/>
                  <a:pt x="274442" y="479703"/>
                </a:cubicBezTo>
                <a:lnTo>
                  <a:pt x="274442" y="634417"/>
                </a:lnTo>
                <a:lnTo>
                  <a:pt x="84888" y="634417"/>
                </a:lnTo>
                <a:close/>
                <a:moveTo>
                  <a:pt x="462045" y="0"/>
                </a:moveTo>
                <a:lnTo>
                  <a:pt x="532970" y="0"/>
                </a:lnTo>
                <a:cubicBezTo>
                  <a:pt x="541891" y="0"/>
                  <a:pt x="549123" y="7232"/>
                  <a:pt x="549123" y="16153"/>
                </a:cubicBezTo>
                <a:lnTo>
                  <a:pt x="549123" y="176505"/>
                </a:lnTo>
                <a:lnTo>
                  <a:pt x="636363" y="246030"/>
                </a:lnTo>
                <a:lnTo>
                  <a:pt x="636800" y="246870"/>
                </a:lnTo>
                <a:lnTo>
                  <a:pt x="637805" y="247202"/>
                </a:lnTo>
                <a:cubicBezTo>
                  <a:pt x="642248" y="250743"/>
                  <a:pt x="644996" y="255634"/>
                  <a:pt x="644996" y="261038"/>
                </a:cubicBezTo>
                <a:cubicBezTo>
                  <a:pt x="644996" y="271844"/>
                  <a:pt x="634004" y="280604"/>
                  <a:pt x="620444" y="280604"/>
                </a:cubicBezTo>
                <a:lnTo>
                  <a:pt x="38657" y="280604"/>
                </a:lnTo>
                <a:lnTo>
                  <a:pt x="29830" y="277690"/>
                </a:lnTo>
                <a:lnTo>
                  <a:pt x="24552" y="279432"/>
                </a:lnTo>
                <a:cubicBezTo>
                  <a:pt x="18268" y="279432"/>
                  <a:pt x="11984" y="277522"/>
                  <a:pt x="7190" y="273702"/>
                </a:cubicBezTo>
                <a:cubicBezTo>
                  <a:pt x="-2397" y="266060"/>
                  <a:pt x="-2397" y="253671"/>
                  <a:pt x="7190" y="246030"/>
                </a:cubicBezTo>
                <a:lnTo>
                  <a:pt x="303264" y="10077"/>
                </a:lnTo>
                <a:cubicBezTo>
                  <a:pt x="308058" y="6257"/>
                  <a:pt x="314341" y="4347"/>
                  <a:pt x="320625" y="4347"/>
                </a:cubicBezTo>
                <a:lnTo>
                  <a:pt x="321776" y="4727"/>
                </a:lnTo>
                <a:lnTo>
                  <a:pt x="322929" y="4347"/>
                </a:lnTo>
                <a:cubicBezTo>
                  <a:pt x="329212" y="4347"/>
                  <a:pt x="335496" y="6257"/>
                  <a:pt x="340290" y="10077"/>
                </a:cubicBezTo>
                <a:lnTo>
                  <a:pt x="445892" y="94236"/>
                </a:lnTo>
                <a:lnTo>
                  <a:pt x="445892" y="16153"/>
                </a:lnTo>
                <a:cubicBezTo>
                  <a:pt x="445892" y="7232"/>
                  <a:pt x="453124" y="0"/>
                  <a:pt x="462045" y="0"/>
                </a:cubicBezTo>
                <a:close/>
              </a:path>
            </a:pathLst>
          </a:custGeom>
          <a:solidFill>
            <a:srgbClr val="B3ACA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8" name="Rectangle: Rounded Corners 17">
            <a:hlinkClick r:id="" action="ppaction://noaction"/>
            <a:extLst>
              <a:ext uri="{FF2B5EF4-FFF2-40B4-BE49-F238E27FC236}">
                <a16:creationId xmlns:a16="http://schemas.microsoft.com/office/drawing/2014/main" id="{441844F9-92CC-49B2-8274-ED38FBEFD64D}"/>
              </a:ext>
            </a:extLst>
          </p:cNvPr>
          <p:cNvSpPr/>
          <p:nvPr userDrawn="1"/>
        </p:nvSpPr>
        <p:spPr>
          <a:xfrm>
            <a:off x="11158220" y="0"/>
            <a:ext cx="1033780" cy="447040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rIns="45720" rtlCol="0" anchor="ctr"/>
          <a:lstStyle/>
          <a:p>
            <a:pPr algn="r"/>
            <a:endParaRPr lang="en-US" sz="1200" b="1" i="0" spc="0" baseline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511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</p:sldLayoutIdLst>
  <p:txStyles>
    <p:titleStyle>
      <a:lvl1pPr algn="l" defTabSz="914400" rtl="0" eaLnBrk="1" fontAlgn="b" latinLnBrk="0" hangingPunct="1">
        <a:lnSpc>
          <a:spcPct val="100000"/>
        </a:lnSpc>
        <a:spcBef>
          <a:spcPct val="0"/>
        </a:spcBef>
        <a:buNone/>
        <a:defRPr sz="3000" b="0" kern="1200" spc="50" baseline="0">
          <a:solidFill>
            <a:srgbClr val="FF681D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 spc="50" baseline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–"/>
        <a:defRPr sz="1800" kern="1200" spc="50" baseline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 spc="50" baseline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–"/>
        <a:defRPr sz="1800" kern="1200" spc="5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anose="020B0604020202020204" pitchFamily="34" charset="0"/>
        <a:buChar char="•"/>
        <a:defRPr sz="1800" kern="1200" spc="5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22">
          <p15:clr>
            <a:srgbClr val="F26B43"/>
          </p15:clr>
        </p15:guide>
        <p15:guide id="2" orient="horz" pos="3725">
          <p15:clr>
            <a:srgbClr val="F26B43"/>
          </p15:clr>
        </p15:guide>
        <p15:guide id="3" pos="347">
          <p15:clr>
            <a:srgbClr val="F26B43"/>
          </p15:clr>
        </p15:guide>
        <p15:guide id="4" pos="7328">
          <p15:clr>
            <a:srgbClr val="F26B43"/>
          </p15:clr>
        </p15:guide>
        <p15:guide id="5" pos="3840">
          <p15:clr>
            <a:srgbClr val="F26B43"/>
          </p15:clr>
        </p15:guide>
        <p15:guide id="6" orient="horz" pos="417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9E28B2A-BD33-3046-A110-8F8C36A2CB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5356C4-67D7-1446-94E4-042113863A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B339B7-7579-0742-AB21-70CE9D9686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5409ED-0C8A-474A-9650-37163A7689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CE6EBC-054B-FA42-B3FF-22C9200B10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620D76-24A1-FC40-9CC5-875E724E73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747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  <p:sldLayoutId id="2147483851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E21148-7E8F-BE46-AEC1-7258941F91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4" y="71919"/>
            <a:ext cx="10801351" cy="92514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B069424-D0AB-3348-8150-928B7970CD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4" y="1341438"/>
            <a:ext cx="10801351" cy="422370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A99F87-B6A1-8F44-A974-B177D43925F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01974" y="6343651"/>
            <a:ext cx="3922526" cy="291668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spc="50" baseline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/>
              <a:t>CONFIDENTIAL. FOR INTERNAL TRAINING USE ONLY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CF28162-EF8B-3B4C-96FF-7A8511324CBC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733376" y="6416313"/>
            <a:ext cx="671700" cy="217849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224536FA-4A67-7E4B-AA50-D9416BF9D6E6}"/>
              </a:ext>
            </a:extLst>
          </p:cNvPr>
          <p:cNvSpPr>
            <a:spLocks noChangeAspect="1"/>
          </p:cNvSpPr>
          <p:nvPr userDrawn="1"/>
        </p:nvSpPr>
        <p:spPr>
          <a:xfrm>
            <a:off x="340359" y="1133856"/>
            <a:ext cx="82296" cy="82296"/>
          </a:xfrm>
          <a:prstGeom prst="ellipse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D65714C5-8638-754E-9C70-186C87289009}"/>
              </a:ext>
            </a:extLst>
          </p:cNvPr>
          <p:cNvCxnSpPr>
            <a:cxnSpLocks/>
            <a:stCxn id="11" idx="6"/>
          </p:cNvCxnSpPr>
          <p:nvPr userDrawn="1"/>
        </p:nvCxnSpPr>
        <p:spPr>
          <a:xfrm>
            <a:off x="422655" y="1175004"/>
            <a:ext cx="11769345" cy="4572"/>
          </a:xfrm>
          <a:prstGeom prst="line">
            <a:avLst/>
          </a:prstGeom>
          <a:ln w="25400">
            <a:gradFill flip="none" rotWithShape="1">
              <a:gsLst>
                <a:gs pos="88000">
                  <a:schemeClr val="accent2"/>
                </a:gs>
                <a:gs pos="2000">
                  <a:schemeClr val="accent1">
                    <a:lumMod val="97000"/>
                    <a:lumOff val="3000"/>
                  </a:schemeClr>
                </a:gs>
              </a:gsLst>
              <a:lin ang="0" scaled="0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DA36FA6-B434-8749-841C-792EFC540853}"/>
              </a:ext>
            </a:extLst>
          </p:cNvPr>
          <p:cNvSpPr txBox="1">
            <a:spLocks/>
          </p:cNvSpPr>
          <p:nvPr userDrawn="1"/>
        </p:nvSpPr>
        <p:spPr>
          <a:xfrm>
            <a:off x="11460957" y="6398418"/>
            <a:ext cx="252000" cy="252000"/>
          </a:xfrm>
          <a:prstGeom prst="ellipse">
            <a:avLst/>
          </a:prstGeom>
          <a:solidFill>
            <a:srgbClr val="968C82">
              <a:alpha val="70000"/>
            </a:srgbClr>
          </a:solidFill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71F89B-EFA9-4BAF-AA6E-F7DDEF61789D}" type="slidenum">
              <a:rPr kumimoji="0" lang="uk-UA" sz="8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uk-UA" sz="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7699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66" r:id="rId14"/>
    <p:sldLayoutId id="2147483867" r:id="rId15"/>
    <p:sldLayoutId id="2147483868" r:id="rId16"/>
    <p:sldLayoutId id="2147483869" r:id="rId17"/>
    <p:sldLayoutId id="2147483870" r:id="rId18"/>
    <p:sldLayoutId id="2147483871" r:id="rId19"/>
    <p:sldLayoutId id="2147483872" r:id="rId20"/>
    <p:sldLayoutId id="2147483873" r:id="rId2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400" rtl="0" eaLnBrk="1" fontAlgn="b" latinLnBrk="0" hangingPunct="1">
        <a:lnSpc>
          <a:spcPct val="100000"/>
        </a:lnSpc>
        <a:spcBef>
          <a:spcPct val="0"/>
        </a:spcBef>
        <a:buNone/>
        <a:defRPr sz="2800" b="1" kern="1200" spc="50" baseline="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69863" indent="-16986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600" kern="1200" spc="0" baseline="0">
          <a:solidFill>
            <a:schemeClr val="tx2"/>
          </a:solidFill>
          <a:latin typeface="+mn-lt"/>
          <a:ea typeface="+mn-ea"/>
          <a:cs typeface="+mn-cs"/>
        </a:defRPr>
      </a:lvl1pPr>
      <a:lvl2pPr marL="436563" indent="-252413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–"/>
        <a:defRPr sz="1600" kern="1200" spc="0" baseline="0">
          <a:solidFill>
            <a:schemeClr val="tx2"/>
          </a:solidFill>
          <a:latin typeface="+mn-lt"/>
          <a:ea typeface="+mn-ea"/>
          <a:cs typeface="+mn-cs"/>
        </a:defRPr>
      </a:lvl2pPr>
      <a:lvl3pPr marL="641350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•"/>
        <a:defRPr sz="1600" kern="1200" spc="0" baseline="0">
          <a:solidFill>
            <a:schemeClr val="tx2"/>
          </a:solidFill>
          <a:latin typeface="+mn-lt"/>
          <a:ea typeface="+mn-ea"/>
          <a:cs typeface="+mn-cs"/>
        </a:defRPr>
      </a:lvl3pPr>
      <a:lvl4pPr marL="898525" indent="-250825" algn="l" defTabSz="914400" rtl="0" eaLnBrk="1" latinLnBrk="0" hangingPunct="1">
        <a:lnSpc>
          <a:spcPct val="100000"/>
        </a:lnSpc>
        <a:spcBef>
          <a:spcPts val="0"/>
        </a:spcBef>
        <a:spcAft>
          <a:spcPts val="400"/>
        </a:spcAft>
        <a:buClr>
          <a:schemeClr val="accent1"/>
        </a:buClr>
        <a:buFont typeface="Arial" panose="020B0604020202020204" pitchFamily="34" charset="0"/>
        <a:buChar char="–"/>
        <a:defRPr sz="1600" kern="1200" spc="0" baseline="0">
          <a:solidFill>
            <a:schemeClr val="tx2"/>
          </a:solidFill>
          <a:latin typeface="+mn-lt"/>
          <a:ea typeface="+mn-ea"/>
          <a:cs typeface="+mn-cs"/>
        </a:defRPr>
      </a:lvl4pPr>
      <a:lvl5pPr marL="1114425" indent="-200025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 spc="50" baseline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3" orient="horz" pos="2160">
          <p15:clr>
            <a:srgbClr val="F26B43"/>
          </p15:clr>
        </p15:guide>
        <p15:guide id="4" pos="438">
          <p15:clr>
            <a:srgbClr val="F26B43"/>
          </p15:clr>
        </p15:guide>
        <p15:guide id="5" pos="7242">
          <p15:clr>
            <a:srgbClr val="F26B43"/>
          </p15:clr>
        </p15:guide>
        <p15:guide id="6" orient="horz" pos="845">
          <p15:clr>
            <a:srgbClr val="F26B43"/>
          </p15:clr>
        </p15:guide>
        <p15:guide id="7" orient="horz" pos="4178">
          <p15:clr>
            <a:srgbClr val="F26B43"/>
          </p15:clr>
        </p15:guide>
        <p15:guide id="8" orient="horz" pos="3906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22338" name="Picture 2">
            <a:extLst>
              <a:ext uri="{FF2B5EF4-FFF2-40B4-BE49-F238E27FC236}">
                <a16:creationId xmlns:a16="http://schemas.microsoft.com/office/drawing/2014/main" id="{A07096AA-24F6-A89F-C9C7-5DF637BCE8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51067" y="1"/>
            <a:ext cx="1543051" cy="1323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22339" name="Rectangle 3">
            <a:extLst>
              <a:ext uri="{FF2B5EF4-FFF2-40B4-BE49-F238E27FC236}">
                <a16:creationId xmlns:a16="http://schemas.microsoft.com/office/drawing/2014/main" id="{2880ABE7-3699-DD25-E246-0B51CCA4C117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304800" y="152400"/>
            <a:ext cx="104648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itelmasterformat durch Klicken bearbeiten</a:t>
            </a:r>
          </a:p>
        </p:txBody>
      </p:sp>
      <p:sp>
        <p:nvSpPr>
          <p:cNvPr id="1422340" name="Rectangle 4">
            <a:extLst>
              <a:ext uri="{FF2B5EF4-FFF2-40B4-BE49-F238E27FC236}">
                <a16:creationId xmlns:a16="http://schemas.microsoft.com/office/drawing/2014/main" id="{1E1078BE-64DE-E53E-7297-83EFB71C1AD0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304800" y="1524000"/>
            <a:ext cx="115824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/>
              <a:t>Textmasterformate durch Klicken bearbeiten</a:t>
            </a:r>
          </a:p>
          <a:p>
            <a:pPr lvl="1"/>
            <a:r>
              <a:rPr lang="de-DE" altLang="en-US"/>
              <a:t>Zweite Ebene</a:t>
            </a:r>
          </a:p>
          <a:p>
            <a:pPr lvl="2"/>
            <a:r>
              <a:rPr lang="de-DE" altLang="en-US"/>
              <a:t>Dritte Ebene</a:t>
            </a:r>
          </a:p>
          <a:p>
            <a:pPr lvl="3"/>
            <a:r>
              <a:rPr lang="de-DE" altLang="en-US"/>
              <a:t>Vierte Ebene</a:t>
            </a:r>
          </a:p>
          <a:p>
            <a:pPr lvl="4"/>
            <a:r>
              <a:rPr lang="de-DE" altLang="en-US"/>
              <a:t>Fünfte Ebene</a:t>
            </a:r>
          </a:p>
        </p:txBody>
      </p:sp>
      <p:pic>
        <p:nvPicPr>
          <p:cNvPr id="1422341" name="Picture 5">
            <a:extLst>
              <a:ext uri="{FF2B5EF4-FFF2-40B4-BE49-F238E27FC236}">
                <a16:creationId xmlns:a16="http://schemas.microsoft.com/office/drawing/2014/main" id="{D332C537-5383-CE62-54CB-D0ACE0CBA13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351" y="6515100"/>
            <a:ext cx="3907368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22342" name="Picture 6">
            <a:extLst>
              <a:ext uri="{FF2B5EF4-FFF2-40B4-BE49-F238E27FC236}">
                <a16:creationId xmlns:a16="http://schemas.microsoft.com/office/drawing/2014/main" id="{CD1A2EBC-15BB-D9FC-D1A4-31ADC58AFA2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277939"/>
            <a:ext cx="12192000" cy="904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22343" name="Picture 7">
            <a:extLst>
              <a:ext uri="{FF2B5EF4-FFF2-40B4-BE49-F238E27FC236}">
                <a16:creationId xmlns:a16="http://schemas.microsoft.com/office/drawing/2014/main" id="{57718C99-2D31-D0AC-4E72-B191185626F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510338"/>
            <a:ext cx="12192000" cy="44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82834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2" r:id="rId1"/>
    <p:sldLayoutId id="2147483993" r:id="rId2"/>
    <p:sldLayoutId id="2147483994" r:id="rId3"/>
    <p:sldLayoutId id="2147483995" r:id="rId4"/>
    <p:sldLayoutId id="2147483996" r:id="rId5"/>
    <p:sldLayoutId id="2147483997" r:id="rId6"/>
    <p:sldLayoutId id="2147483998" r:id="rId7"/>
    <p:sldLayoutId id="2147483999" r:id="rId8"/>
    <p:sldLayoutId id="2147484000" r:id="rId9"/>
    <p:sldLayoutId id="2147484001" r:id="rId10"/>
    <p:sldLayoutId id="2147484002" r:id="rId11"/>
  </p:sldLayoutIdLst>
  <p:txStyles>
    <p:titleStyle>
      <a:lvl1pPr algn="l" rtl="0" fontAlgn="base">
        <a:spcBef>
          <a:spcPct val="0"/>
        </a:spcBef>
        <a:spcAft>
          <a:spcPct val="0"/>
        </a:spcAft>
        <a:defRPr sz="3600" b="1" kern="1200">
          <a:solidFill>
            <a:srgbClr val="5C018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 b="1">
          <a:solidFill>
            <a:srgbClr val="5C0181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600" b="1">
          <a:solidFill>
            <a:srgbClr val="5C0181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600" b="1">
          <a:solidFill>
            <a:srgbClr val="5C0181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600" b="1">
          <a:solidFill>
            <a:srgbClr val="5C0181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 b="1">
          <a:solidFill>
            <a:srgbClr val="5C0181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 b="1">
          <a:solidFill>
            <a:srgbClr val="5C0181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 b="1">
          <a:solidFill>
            <a:srgbClr val="5C0181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 b="1">
          <a:solidFill>
            <a:srgbClr val="5C0181"/>
          </a:solidFill>
          <a:latin typeface="Arial" panose="020B0604020202020204" pitchFamily="34" charset="0"/>
        </a:defRPr>
      </a:lvl9pPr>
    </p:titleStyle>
    <p:bodyStyle>
      <a:lvl1pPr marL="342900" indent="-342900" algn="l" rtl="0" fontAlgn="base">
        <a:lnSpc>
          <a:spcPct val="120000"/>
        </a:lnSpc>
        <a:spcBef>
          <a:spcPct val="20000"/>
        </a:spcBef>
        <a:spcAft>
          <a:spcPct val="0"/>
        </a:spcAft>
        <a:buSzPct val="80000"/>
        <a:buBlip>
          <a:blip r:embed="rId16"/>
        </a:buBlip>
        <a:defRPr sz="2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lnSpc>
          <a:spcPct val="120000"/>
        </a:lnSpc>
        <a:spcBef>
          <a:spcPct val="20000"/>
        </a:spcBef>
        <a:spcAft>
          <a:spcPct val="0"/>
        </a:spcAft>
        <a:buClr>
          <a:srgbClr val="5C0181"/>
        </a:buClr>
        <a:buSzPct val="110000"/>
        <a:buChar char="•"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buClr>
          <a:srgbClr val="016E79"/>
        </a:buClr>
        <a:buSzPct val="110000"/>
        <a:buChar char="-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buClr>
          <a:srgbClr val="5C0181"/>
        </a:buClr>
        <a:buSzPct val="11000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buClr>
          <a:srgbClr val="016E79"/>
        </a:buClr>
        <a:buSzPct val="11000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81420" y="3429000"/>
            <a:ext cx="10448054" cy="2274278"/>
          </a:xfrm>
        </p:spPr>
        <p:txBody>
          <a:bodyPr/>
          <a:lstStyle/>
          <a:p>
            <a:pPr algn="ctr"/>
            <a:r>
              <a:rPr lang="en-GB" dirty="0"/>
              <a:t>               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81203" y="4796205"/>
            <a:ext cx="3657600" cy="1238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169C2EC-A80C-28A5-5D72-BDF7C0FC7EDB}"/>
              </a:ext>
            </a:extLst>
          </p:cNvPr>
          <p:cNvSpPr txBox="1"/>
          <p:nvPr/>
        </p:nvSpPr>
        <p:spPr>
          <a:xfrm>
            <a:off x="625642" y="823545"/>
            <a:ext cx="10603832" cy="3648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GB" sz="28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Rare Disease Day 29</a:t>
            </a:r>
            <a:r>
              <a:rPr lang="en-GB" sz="2800" b="1" baseline="300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</a:t>
            </a:r>
            <a:r>
              <a:rPr lang="en-GB" sz="28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February 2024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GB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o celebrate rare disease The PNH National Service invite you to join in an update on PNH in 2024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GB" sz="28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There will be a presentation from members of the team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GB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nd a Q&amp;A session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GB" sz="28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1pm – 1.45pm</a:t>
            </a:r>
          </a:p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82676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OURCE" val="C:\Program Files\PowerPitch\Logos\Color\Credit Suisse.wmf"/>
  <p:tag name="MASTER_ITEM" val="MASTER_ITEM"/>
  <p:tag name="SLIDE_TYPE_NAME" val="CoverPage"/>
  <p:tag name="SWAPTYP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OURCE" val="C:\Program Files\PowerPitch\Logos\Color\Credit Suisse.wmf"/>
  <p:tag name="MASTER_ITEM" val="MASTER_ITEM"/>
  <p:tag name="SLIDE_TYPE_NAME" val="CoverPage"/>
  <p:tag name="SWAPTYPE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OURCE" val="C:\Program Files\PowerPitch\Logos\Color\Credit Suisse.wmf"/>
  <p:tag name="MASTER_ITEM" val="MASTER_ITEM"/>
  <p:tag name="SLIDE_TYPE_NAME" val="CoverPage"/>
  <p:tag name="SWAPTYPE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yxwumNU857oeRDtjFi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yxwumNU857oeRDtjFi3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5_Option 2">
  <a:themeElements>
    <a:clrScheme name="Apellis Medical Branding">
      <a:dk1>
        <a:srgbClr val="FE671B"/>
      </a:dk1>
      <a:lt1>
        <a:srgbClr val="005D81"/>
      </a:lt1>
      <a:dk2>
        <a:srgbClr val="4A4F54"/>
      </a:dk2>
      <a:lt2>
        <a:srgbClr val="FFFDF8"/>
      </a:lt2>
      <a:accent1>
        <a:srgbClr val="FE671B"/>
      </a:accent1>
      <a:accent2>
        <a:srgbClr val="005D81"/>
      </a:accent2>
      <a:accent3>
        <a:srgbClr val="AB073C"/>
      </a:accent3>
      <a:accent4>
        <a:srgbClr val="D7D1C4"/>
      </a:accent4>
      <a:accent5>
        <a:srgbClr val="968A81"/>
      </a:accent5>
      <a:accent6>
        <a:srgbClr val="FE9D6B"/>
      </a:accent6>
      <a:hlink>
        <a:srgbClr val="AB073C"/>
      </a:hlink>
      <a:folHlink>
        <a:srgbClr val="968A8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chemeClr val="accent1"/>
            </a:gs>
            <a:gs pos="100000">
              <a:schemeClr val="accent2"/>
            </a:gs>
          </a:gsLst>
          <a:lin ang="0" scaled="1"/>
        </a:gra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600" spc="50" baseline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pellis_Corp_PPT_Template-v4" id="{2F4DD005-2FDF-3C43-8FD8-AD8CCCA94E55}" vid="{D0E9E283-D2B1-8942-B82A-C74EA3EBE435}"/>
    </a:ext>
  </a:extLst>
</a:theme>
</file>

<file path=ppt/theme/theme10.xml><?xml version="1.0" encoding="utf-8"?>
<a:theme xmlns:a="http://schemas.openxmlformats.org/drawingml/2006/main" name="4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3_Office Theme">
  <a:themeElements>
    <a:clrScheme name="C3 Assembly">
      <a:dk1>
        <a:srgbClr val="5E6C85"/>
      </a:dk1>
      <a:lt1>
        <a:sysClr val="window" lastClr="FFFFFF"/>
      </a:lt1>
      <a:dk2>
        <a:srgbClr val="00698C"/>
      </a:dk2>
      <a:lt2>
        <a:srgbClr val="A5CFD4"/>
      </a:lt2>
      <a:accent1>
        <a:srgbClr val="194782"/>
      </a:accent1>
      <a:accent2>
        <a:srgbClr val="5E6C85"/>
      </a:accent2>
      <a:accent3>
        <a:srgbClr val="00698C"/>
      </a:accent3>
      <a:accent4>
        <a:srgbClr val="5096A0"/>
      </a:accent4>
      <a:accent5>
        <a:srgbClr val="A5CFD4"/>
      </a:accent5>
      <a:accent6>
        <a:srgbClr val="FFFFFF"/>
      </a:accent6>
      <a:hlink>
        <a:srgbClr val="194782"/>
      </a:hlink>
      <a:folHlink>
        <a:srgbClr val="19478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5258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ption 2">
  <a:themeElements>
    <a:clrScheme name="Custom 38">
      <a:dk1>
        <a:srgbClr val="333333"/>
      </a:dk1>
      <a:lt1>
        <a:srgbClr val="FFFFFF"/>
      </a:lt1>
      <a:dk2>
        <a:srgbClr val="44546A"/>
      </a:dk2>
      <a:lt2>
        <a:srgbClr val="E7E6E6"/>
      </a:lt2>
      <a:accent1>
        <a:srgbClr val="FC3B6E"/>
      </a:accent1>
      <a:accent2>
        <a:srgbClr val="5E6C85"/>
      </a:accent2>
      <a:accent3>
        <a:srgbClr val="A5CFD3"/>
      </a:accent3>
      <a:accent4>
        <a:srgbClr val="594986"/>
      </a:accent4>
      <a:accent5>
        <a:srgbClr val="FFFFFF"/>
      </a:accent5>
      <a:accent6>
        <a:srgbClr val="FC3B6E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3_Option 2">
  <a:themeElements>
    <a:clrScheme name="Custom 38">
      <a:dk1>
        <a:srgbClr val="333333"/>
      </a:dk1>
      <a:lt1>
        <a:srgbClr val="FFFFFF"/>
      </a:lt1>
      <a:dk2>
        <a:srgbClr val="44546A"/>
      </a:dk2>
      <a:lt2>
        <a:srgbClr val="E7E6E6"/>
      </a:lt2>
      <a:accent1>
        <a:srgbClr val="FC3B6E"/>
      </a:accent1>
      <a:accent2>
        <a:srgbClr val="5E6C85"/>
      </a:accent2>
      <a:accent3>
        <a:srgbClr val="A5CFD3"/>
      </a:accent3>
      <a:accent4>
        <a:srgbClr val="594986"/>
      </a:accent4>
      <a:accent5>
        <a:srgbClr val="FFFFFF"/>
      </a:accent5>
      <a:accent6>
        <a:srgbClr val="FC3B6E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1_Theme 2 dark blue REGN">
  <a:themeElements>
    <a:clrScheme name="Custom 11">
      <a:dk1>
        <a:srgbClr val="030508"/>
      </a:dk1>
      <a:lt1>
        <a:srgbClr val="FFFFFF"/>
      </a:lt1>
      <a:dk2>
        <a:srgbClr val="3B80BD"/>
      </a:dk2>
      <a:lt2>
        <a:srgbClr val="808080"/>
      </a:lt2>
      <a:accent1>
        <a:srgbClr val="49A7DC"/>
      </a:accent1>
      <a:accent2>
        <a:srgbClr val="287899"/>
      </a:accent2>
      <a:accent3>
        <a:srgbClr val="FFFFFF"/>
      </a:accent3>
      <a:accent4>
        <a:srgbClr val="000000"/>
      </a:accent4>
      <a:accent5>
        <a:srgbClr val="41A3EF"/>
      </a:accent5>
      <a:accent6>
        <a:srgbClr val="3E7C95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376237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3762375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6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36000" tIns="36000" rIns="36000" bIns="36000" rtlCol="0" anchor="ctr">
        <a:noAutofit/>
      </a:bodyPr>
      <a:lstStyle>
        <a:defPPr algn="l">
          <a:defRPr sz="3600" dirty="0" err="1" smtClean="0">
            <a:effectLst/>
            <a:latin typeface="Arial" panose="020B0604020202020204" pitchFamily="34" charset="0"/>
            <a:ea typeface="Times New Roman" panose="02020603050405020304" pitchFamily="18" charset="0"/>
            <a:cs typeface="Arial" panose="020B0604020202020204" pitchFamily="34" charset="0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 2 dark blue REGN" id="{236D271E-9FC6-4E6D-B1C6-942E6027587D}" vid="{D64E86BE-8BA8-483D-8BF0-0A15CBD44A0E}"/>
    </a:ext>
  </a:extLst>
</a:theme>
</file>

<file path=ppt/theme/theme15.xml><?xml version="1.0" encoding="utf-8"?>
<a:theme xmlns:a="http://schemas.openxmlformats.org/drawingml/2006/main" name="4_Option 2">
  <a:themeElements>
    <a:clrScheme name="Custom 38">
      <a:dk1>
        <a:srgbClr val="333333"/>
      </a:dk1>
      <a:lt1>
        <a:srgbClr val="FFFFFF"/>
      </a:lt1>
      <a:dk2>
        <a:srgbClr val="44546A"/>
      </a:dk2>
      <a:lt2>
        <a:srgbClr val="E7E6E6"/>
      </a:lt2>
      <a:accent1>
        <a:srgbClr val="FC3B6E"/>
      </a:accent1>
      <a:accent2>
        <a:srgbClr val="5E6C85"/>
      </a:accent2>
      <a:accent3>
        <a:srgbClr val="A5CFD3"/>
      </a:accent3>
      <a:accent4>
        <a:srgbClr val="594986"/>
      </a:accent4>
      <a:accent5>
        <a:srgbClr val="FFFFFF"/>
      </a:accent5>
      <a:accent6>
        <a:srgbClr val="FC3B6E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6_Option 2">
  <a:themeElements>
    <a:clrScheme name="Custom 38">
      <a:dk1>
        <a:srgbClr val="333333"/>
      </a:dk1>
      <a:lt1>
        <a:srgbClr val="FFFFFF"/>
      </a:lt1>
      <a:dk2>
        <a:srgbClr val="44546A"/>
      </a:dk2>
      <a:lt2>
        <a:srgbClr val="E7E6E6"/>
      </a:lt2>
      <a:accent1>
        <a:srgbClr val="FC3B6E"/>
      </a:accent1>
      <a:accent2>
        <a:srgbClr val="5E6C85"/>
      </a:accent2>
      <a:accent3>
        <a:srgbClr val="A5CFD3"/>
      </a:accent3>
      <a:accent4>
        <a:srgbClr val="594986"/>
      </a:accent4>
      <a:accent5>
        <a:srgbClr val="FFFFFF"/>
      </a:accent5>
      <a:accent6>
        <a:srgbClr val="FC3B6E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7_Option 2">
  <a:themeElements>
    <a:clrScheme name="Custom 38">
      <a:dk1>
        <a:srgbClr val="333333"/>
      </a:dk1>
      <a:lt1>
        <a:srgbClr val="FFFFFF"/>
      </a:lt1>
      <a:dk2>
        <a:srgbClr val="44546A"/>
      </a:dk2>
      <a:lt2>
        <a:srgbClr val="E7E6E6"/>
      </a:lt2>
      <a:accent1>
        <a:srgbClr val="FC3B6E"/>
      </a:accent1>
      <a:accent2>
        <a:srgbClr val="5E6C85"/>
      </a:accent2>
      <a:accent3>
        <a:srgbClr val="A5CFD3"/>
      </a:accent3>
      <a:accent4>
        <a:srgbClr val="594986"/>
      </a:accent4>
      <a:accent5>
        <a:srgbClr val="FFFFFF"/>
      </a:accent5>
      <a:accent6>
        <a:srgbClr val="FC3B6E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4_Default Design">
  <a:themeElements>
    <a:clrScheme name="">
      <a:dk1>
        <a:srgbClr val="000000"/>
      </a:dk1>
      <a:lt1>
        <a:srgbClr val="FFFFFF"/>
      </a:lt1>
      <a:dk2>
        <a:srgbClr val="1C3972"/>
      </a:dk2>
      <a:lt2>
        <a:srgbClr val="FFE38A"/>
      </a:lt2>
      <a:accent1>
        <a:srgbClr val="FFD049"/>
      </a:accent1>
      <a:accent2>
        <a:srgbClr val="F89844"/>
      </a:accent2>
      <a:accent3>
        <a:srgbClr val="ABAEBC"/>
      </a:accent3>
      <a:accent4>
        <a:srgbClr val="DADADA"/>
      </a:accent4>
      <a:accent5>
        <a:srgbClr val="FFE4B1"/>
      </a:accent5>
      <a:accent6>
        <a:srgbClr val="E1893D"/>
      </a:accent6>
      <a:hlink>
        <a:srgbClr val="F26521"/>
      </a:hlink>
      <a:folHlink>
        <a:srgbClr val="9DB6E7"/>
      </a:folHlink>
    </a:clrScheme>
    <a:fontScheme name="2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3">
        <a:dk1>
          <a:srgbClr val="000000"/>
        </a:dk1>
        <a:lt1>
          <a:srgbClr val="FFFFFF"/>
        </a:lt1>
        <a:dk2>
          <a:srgbClr val="0000FF"/>
        </a:dk2>
        <a:lt2>
          <a:srgbClr val="FFE38A"/>
        </a:lt2>
        <a:accent1>
          <a:srgbClr val="B52516"/>
        </a:accent1>
        <a:accent2>
          <a:srgbClr val="F26521"/>
        </a:accent2>
        <a:accent3>
          <a:srgbClr val="AAAAFF"/>
        </a:accent3>
        <a:accent4>
          <a:srgbClr val="DADADA"/>
        </a:accent4>
        <a:accent5>
          <a:srgbClr val="D7ACAB"/>
        </a:accent5>
        <a:accent6>
          <a:srgbClr val="DB5B1D"/>
        </a:accent6>
        <a:hlink>
          <a:srgbClr val="F89844"/>
        </a:hlink>
        <a:folHlink>
          <a:srgbClr val="FFD04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4">
        <a:dk1>
          <a:srgbClr val="000000"/>
        </a:dk1>
        <a:lt1>
          <a:srgbClr val="FFFFFF"/>
        </a:lt1>
        <a:dk2>
          <a:srgbClr val="0C0500"/>
        </a:dk2>
        <a:lt2>
          <a:srgbClr val="FFE38A"/>
        </a:lt2>
        <a:accent1>
          <a:srgbClr val="B52516"/>
        </a:accent1>
        <a:accent2>
          <a:srgbClr val="F26521"/>
        </a:accent2>
        <a:accent3>
          <a:srgbClr val="AAAAAA"/>
        </a:accent3>
        <a:accent4>
          <a:srgbClr val="DADADA"/>
        </a:accent4>
        <a:accent5>
          <a:srgbClr val="D7ACAB"/>
        </a:accent5>
        <a:accent6>
          <a:srgbClr val="DB5B1D"/>
        </a:accent6>
        <a:hlink>
          <a:srgbClr val="F89844"/>
        </a:hlink>
        <a:folHlink>
          <a:srgbClr val="FFD04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5">
        <a:dk1>
          <a:srgbClr val="000000"/>
        </a:dk1>
        <a:lt1>
          <a:srgbClr val="FFFFFF"/>
        </a:lt1>
        <a:dk2>
          <a:srgbClr val="0C0500"/>
        </a:dk2>
        <a:lt2>
          <a:srgbClr val="FFE38A"/>
        </a:lt2>
        <a:accent1>
          <a:srgbClr val="FFD049"/>
        </a:accent1>
        <a:accent2>
          <a:srgbClr val="F89844"/>
        </a:accent2>
        <a:accent3>
          <a:srgbClr val="AAAAAA"/>
        </a:accent3>
        <a:accent4>
          <a:srgbClr val="DADADA"/>
        </a:accent4>
        <a:accent5>
          <a:srgbClr val="FFE4B1"/>
        </a:accent5>
        <a:accent6>
          <a:srgbClr val="E1893D"/>
        </a:accent6>
        <a:hlink>
          <a:srgbClr val="F26521"/>
        </a:hlink>
        <a:folHlink>
          <a:srgbClr val="B5251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6">
        <a:dk1>
          <a:srgbClr val="000000"/>
        </a:dk1>
        <a:lt1>
          <a:srgbClr val="FFFFFF"/>
        </a:lt1>
        <a:dk2>
          <a:srgbClr val="003399"/>
        </a:dk2>
        <a:lt2>
          <a:srgbClr val="FFE38A"/>
        </a:lt2>
        <a:accent1>
          <a:srgbClr val="FFD049"/>
        </a:accent1>
        <a:accent2>
          <a:srgbClr val="F89844"/>
        </a:accent2>
        <a:accent3>
          <a:srgbClr val="AAADCA"/>
        </a:accent3>
        <a:accent4>
          <a:srgbClr val="DADADA"/>
        </a:accent4>
        <a:accent5>
          <a:srgbClr val="FFE4B1"/>
        </a:accent5>
        <a:accent6>
          <a:srgbClr val="E1893D"/>
        </a:accent6>
        <a:hlink>
          <a:srgbClr val="F26521"/>
        </a:hlink>
        <a:folHlink>
          <a:srgbClr val="B52516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Default Design">
  <a:themeElements>
    <a:clrScheme name="">
      <a:dk1>
        <a:srgbClr val="000000"/>
      </a:dk1>
      <a:lt1>
        <a:srgbClr val="FFFFFF"/>
      </a:lt1>
      <a:dk2>
        <a:srgbClr val="1C3972"/>
      </a:dk2>
      <a:lt2>
        <a:srgbClr val="FFE38A"/>
      </a:lt2>
      <a:accent1>
        <a:srgbClr val="FFD049"/>
      </a:accent1>
      <a:accent2>
        <a:srgbClr val="F89844"/>
      </a:accent2>
      <a:accent3>
        <a:srgbClr val="ABAEBC"/>
      </a:accent3>
      <a:accent4>
        <a:srgbClr val="DADADA"/>
      </a:accent4>
      <a:accent5>
        <a:srgbClr val="FFE4B1"/>
      </a:accent5>
      <a:accent6>
        <a:srgbClr val="E1893D"/>
      </a:accent6>
      <a:hlink>
        <a:srgbClr val="F26521"/>
      </a:hlink>
      <a:folHlink>
        <a:srgbClr val="9DB6E7"/>
      </a:folHlink>
    </a:clrScheme>
    <a:fontScheme name="2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3">
        <a:dk1>
          <a:srgbClr val="000000"/>
        </a:dk1>
        <a:lt1>
          <a:srgbClr val="FFFFFF"/>
        </a:lt1>
        <a:dk2>
          <a:srgbClr val="0000FF"/>
        </a:dk2>
        <a:lt2>
          <a:srgbClr val="FFE38A"/>
        </a:lt2>
        <a:accent1>
          <a:srgbClr val="B52516"/>
        </a:accent1>
        <a:accent2>
          <a:srgbClr val="F26521"/>
        </a:accent2>
        <a:accent3>
          <a:srgbClr val="AAAAFF"/>
        </a:accent3>
        <a:accent4>
          <a:srgbClr val="DADADA"/>
        </a:accent4>
        <a:accent5>
          <a:srgbClr val="D7ACAB"/>
        </a:accent5>
        <a:accent6>
          <a:srgbClr val="DB5B1D"/>
        </a:accent6>
        <a:hlink>
          <a:srgbClr val="F89844"/>
        </a:hlink>
        <a:folHlink>
          <a:srgbClr val="FFD04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4">
        <a:dk1>
          <a:srgbClr val="000000"/>
        </a:dk1>
        <a:lt1>
          <a:srgbClr val="FFFFFF"/>
        </a:lt1>
        <a:dk2>
          <a:srgbClr val="0C0500"/>
        </a:dk2>
        <a:lt2>
          <a:srgbClr val="FFE38A"/>
        </a:lt2>
        <a:accent1>
          <a:srgbClr val="B52516"/>
        </a:accent1>
        <a:accent2>
          <a:srgbClr val="F26521"/>
        </a:accent2>
        <a:accent3>
          <a:srgbClr val="AAAAAA"/>
        </a:accent3>
        <a:accent4>
          <a:srgbClr val="DADADA"/>
        </a:accent4>
        <a:accent5>
          <a:srgbClr val="D7ACAB"/>
        </a:accent5>
        <a:accent6>
          <a:srgbClr val="DB5B1D"/>
        </a:accent6>
        <a:hlink>
          <a:srgbClr val="F89844"/>
        </a:hlink>
        <a:folHlink>
          <a:srgbClr val="FFD04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5">
        <a:dk1>
          <a:srgbClr val="000000"/>
        </a:dk1>
        <a:lt1>
          <a:srgbClr val="FFFFFF"/>
        </a:lt1>
        <a:dk2>
          <a:srgbClr val="0C0500"/>
        </a:dk2>
        <a:lt2>
          <a:srgbClr val="FFE38A"/>
        </a:lt2>
        <a:accent1>
          <a:srgbClr val="FFD049"/>
        </a:accent1>
        <a:accent2>
          <a:srgbClr val="F89844"/>
        </a:accent2>
        <a:accent3>
          <a:srgbClr val="AAAAAA"/>
        </a:accent3>
        <a:accent4>
          <a:srgbClr val="DADADA"/>
        </a:accent4>
        <a:accent5>
          <a:srgbClr val="FFE4B1"/>
        </a:accent5>
        <a:accent6>
          <a:srgbClr val="E1893D"/>
        </a:accent6>
        <a:hlink>
          <a:srgbClr val="F26521"/>
        </a:hlink>
        <a:folHlink>
          <a:srgbClr val="B5251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6">
        <a:dk1>
          <a:srgbClr val="000000"/>
        </a:dk1>
        <a:lt1>
          <a:srgbClr val="FFFFFF"/>
        </a:lt1>
        <a:dk2>
          <a:srgbClr val="003399"/>
        </a:dk2>
        <a:lt2>
          <a:srgbClr val="FFE38A"/>
        </a:lt2>
        <a:accent1>
          <a:srgbClr val="FFD049"/>
        </a:accent1>
        <a:accent2>
          <a:srgbClr val="F89844"/>
        </a:accent2>
        <a:accent3>
          <a:srgbClr val="AAADCA"/>
        </a:accent3>
        <a:accent4>
          <a:srgbClr val="DADADA"/>
        </a:accent4>
        <a:accent5>
          <a:srgbClr val="FFE4B1"/>
        </a:accent5>
        <a:accent6>
          <a:srgbClr val="E1893D"/>
        </a:accent6>
        <a:hlink>
          <a:srgbClr val="F26521"/>
        </a:hlink>
        <a:folHlink>
          <a:srgbClr val="B52516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9_Default Design">
  <a:themeElements>
    <a:clrScheme name="">
      <a:dk1>
        <a:srgbClr val="000000"/>
      </a:dk1>
      <a:lt1>
        <a:srgbClr val="FFFFFF"/>
      </a:lt1>
      <a:dk2>
        <a:srgbClr val="1C3972"/>
      </a:dk2>
      <a:lt2>
        <a:srgbClr val="FFE38A"/>
      </a:lt2>
      <a:accent1>
        <a:srgbClr val="FFD049"/>
      </a:accent1>
      <a:accent2>
        <a:srgbClr val="F89844"/>
      </a:accent2>
      <a:accent3>
        <a:srgbClr val="ABAEBC"/>
      </a:accent3>
      <a:accent4>
        <a:srgbClr val="DADADA"/>
      </a:accent4>
      <a:accent5>
        <a:srgbClr val="FFE4B1"/>
      </a:accent5>
      <a:accent6>
        <a:srgbClr val="E1893D"/>
      </a:accent6>
      <a:hlink>
        <a:srgbClr val="F26521"/>
      </a:hlink>
      <a:folHlink>
        <a:srgbClr val="9DB6E7"/>
      </a:folHlink>
    </a:clrScheme>
    <a:fontScheme name="2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3">
        <a:dk1>
          <a:srgbClr val="000000"/>
        </a:dk1>
        <a:lt1>
          <a:srgbClr val="FFFFFF"/>
        </a:lt1>
        <a:dk2>
          <a:srgbClr val="0000FF"/>
        </a:dk2>
        <a:lt2>
          <a:srgbClr val="FFE38A"/>
        </a:lt2>
        <a:accent1>
          <a:srgbClr val="B52516"/>
        </a:accent1>
        <a:accent2>
          <a:srgbClr val="F26521"/>
        </a:accent2>
        <a:accent3>
          <a:srgbClr val="AAAAFF"/>
        </a:accent3>
        <a:accent4>
          <a:srgbClr val="DADADA"/>
        </a:accent4>
        <a:accent5>
          <a:srgbClr val="D7ACAB"/>
        </a:accent5>
        <a:accent6>
          <a:srgbClr val="DB5B1D"/>
        </a:accent6>
        <a:hlink>
          <a:srgbClr val="F89844"/>
        </a:hlink>
        <a:folHlink>
          <a:srgbClr val="FFD04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4">
        <a:dk1>
          <a:srgbClr val="000000"/>
        </a:dk1>
        <a:lt1>
          <a:srgbClr val="FFFFFF"/>
        </a:lt1>
        <a:dk2>
          <a:srgbClr val="0C0500"/>
        </a:dk2>
        <a:lt2>
          <a:srgbClr val="FFE38A"/>
        </a:lt2>
        <a:accent1>
          <a:srgbClr val="B52516"/>
        </a:accent1>
        <a:accent2>
          <a:srgbClr val="F26521"/>
        </a:accent2>
        <a:accent3>
          <a:srgbClr val="AAAAAA"/>
        </a:accent3>
        <a:accent4>
          <a:srgbClr val="DADADA"/>
        </a:accent4>
        <a:accent5>
          <a:srgbClr val="D7ACAB"/>
        </a:accent5>
        <a:accent6>
          <a:srgbClr val="DB5B1D"/>
        </a:accent6>
        <a:hlink>
          <a:srgbClr val="F89844"/>
        </a:hlink>
        <a:folHlink>
          <a:srgbClr val="FFD04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5">
        <a:dk1>
          <a:srgbClr val="000000"/>
        </a:dk1>
        <a:lt1>
          <a:srgbClr val="FFFFFF"/>
        </a:lt1>
        <a:dk2>
          <a:srgbClr val="0C0500"/>
        </a:dk2>
        <a:lt2>
          <a:srgbClr val="FFE38A"/>
        </a:lt2>
        <a:accent1>
          <a:srgbClr val="FFD049"/>
        </a:accent1>
        <a:accent2>
          <a:srgbClr val="F89844"/>
        </a:accent2>
        <a:accent3>
          <a:srgbClr val="AAAAAA"/>
        </a:accent3>
        <a:accent4>
          <a:srgbClr val="DADADA"/>
        </a:accent4>
        <a:accent5>
          <a:srgbClr val="FFE4B1"/>
        </a:accent5>
        <a:accent6>
          <a:srgbClr val="E1893D"/>
        </a:accent6>
        <a:hlink>
          <a:srgbClr val="F26521"/>
        </a:hlink>
        <a:folHlink>
          <a:srgbClr val="B5251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6">
        <a:dk1>
          <a:srgbClr val="000000"/>
        </a:dk1>
        <a:lt1>
          <a:srgbClr val="FFFFFF"/>
        </a:lt1>
        <a:dk2>
          <a:srgbClr val="003399"/>
        </a:dk2>
        <a:lt2>
          <a:srgbClr val="FFE38A"/>
        </a:lt2>
        <a:accent1>
          <a:srgbClr val="FFD049"/>
        </a:accent1>
        <a:accent2>
          <a:srgbClr val="F89844"/>
        </a:accent2>
        <a:accent3>
          <a:srgbClr val="AAADCA"/>
        </a:accent3>
        <a:accent4>
          <a:srgbClr val="DADADA"/>
        </a:accent4>
        <a:accent5>
          <a:srgbClr val="FFE4B1"/>
        </a:accent5>
        <a:accent6>
          <a:srgbClr val="E1893D"/>
        </a:accent6>
        <a:hlink>
          <a:srgbClr val="F26521"/>
        </a:hlink>
        <a:folHlink>
          <a:srgbClr val="B52516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Default Design">
  <a:themeElements>
    <a:clrScheme name="">
      <a:dk1>
        <a:srgbClr val="000000"/>
      </a:dk1>
      <a:lt1>
        <a:srgbClr val="FFFFFF"/>
      </a:lt1>
      <a:dk2>
        <a:srgbClr val="1C3972"/>
      </a:dk2>
      <a:lt2>
        <a:srgbClr val="FFE38A"/>
      </a:lt2>
      <a:accent1>
        <a:srgbClr val="FFD049"/>
      </a:accent1>
      <a:accent2>
        <a:srgbClr val="F89844"/>
      </a:accent2>
      <a:accent3>
        <a:srgbClr val="ABAEBC"/>
      </a:accent3>
      <a:accent4>
        <a:srgbClr val="DADADA"/>
      </a:accent4>
      <a:accent5>
        <a:srgbClr val="FFE4B1"/>
      </a:accent5>
      <a:accent6>
        <a:srgbClr val="E1893D"/>
      </a:accent6>
      <a:hlink>
        <a:srgbClr val="F26521"/>
      </a:hlink>
      <a:folHlink>
        <a:srgbClr val="9DB6E7"/>
      </a:folHlink>
    </a:clrScheme>
    <a:fontScheme name="2_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prstShdw prst="shdw17" dist="17961" dir="2700000">
            <a:schemeClr val="tx1">
              <a:gamma/>
              <a:shade val="60000"/>
              <a:invGamma/>
            </a:schemeClr>
          </a:prst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2_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3">
        <a:dk1>
          <a:srgbClr val="000000"/>
        </a:dk1>
        <a:lt1>
          <a:srgbClr val="FFFFFF"/>
        </a:lt1>
        <a:dk2>
          <a:srgbClr val="0000FF"/>
        </a:dk2>
        <a:lt2>
          <a:srgbClr val="FFE38A"/>
        </a:lt2>
        <a:accent1>
          <a:srgbClr val="B52516"/>
        </a:accent1>
        <a:accent2>
          <a:srgbClr val="F26521"/>
        </a:accent2>
        <a:accent3>
          <a:srgbClr val="AAAAFF"/>
        </a:accent3>
        <a:accent4>
          <a:srgbClr val="DADADA"/>
        </a:accent4>
        <a:accent5>
          <a:srgbClr val="D7ACAB"/>
        </a:accent5>
        <a:accent6>
          <a:srgbClr val="DB5B1D"/>
        </a:accent6>
        <a:hlink>
          <a:srgbClr val="F89844"/>
        </a:hlink>
        <a:folHlink>
          <a:srgbClr val="FFD04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4">
        <a:dk1>
          <a:srgbClr val="000000"/>
        </a:dk1>
        <a:lt1>
          <a:srgbClr val="FFFFFF"/>
        </a:lt1>
        <a:dk2>
          <a:srgbClr val="0C0500"/>
        </a:dk2>
        <a:lt2>
          <a:srgbClr val="FFE38A"/>
        </a:lt2>
        <a:accent1>
          <a:srgbClr val="B52516"/>
        </a:accent1>
        <a:accent2>
          <a:srgbClr val="F26521"/>
        </a:accent2>
        <a:accent3>
          <a:srgbClr val="AAAAAA"/>
        </a:accent3>
        <a:accent4>
          <a:srgbClr val="DADADA"/>
        </a:accent4>
        <a:accent5>
          <a:srgbClr val="D7ACAB"/>
        </a:accent5>
        <a:accent6>
          <a:srgbClr val="DB5B1D"/>
        </a:accent6>
        <a:hlink>
          <a:srgbClr val="F89844"/>
        </a:hlink>
        <a:folHlink>
          <a:srgbClr val="FFD04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5">
        <a:dk1>
          <a:srgbClr val="000000"/>
        </a:dk1>
        <a:lt1>
          <a:srgbClr val="FFFFFF"/>
        </a:lt1>
        <a:dk2>
          <a:srgbClr val="0C0500"/>
        </a:dk2>
        <a:lt2>
          <a:srgbClr val="FFE38A"/>
        </a:lt2>
        <a:accent1>
          <a:srgbClr val="FFD049"/>
        </a:accent1>
        <a:accent2>
          <a:srgbClr val="F89844"/>
        </a:accent2>
        <a:accent3>
          <a:srgbClr val="AAAAAA"/>
        </a:accent3>
        <a:accent4>
          <a:srgbClr val="DADADA"/>
        </a:accent4>
        <a:accent5>
          <a:srgbClr val="FFE4B1"/>
        </a:accent5>
        <a:accent6>
          <a:srgbClr val="E1893D"/>
        </a:accent6>
        <a:hlink>
          <a:srgbClr val="F26521"/>
        </a:hlink>
        <a:folHlink>
          <a:srgbClr val="B5251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Default Design 16">
        <a:dk1>
          <a:srgbClr val="000000"/>
        </a:dk1>
        <a:lt1>
          <a:srgbClr val="FFFFFF"/>
        </a:lt1>
        <a:dk2>
          <a:srgbClr val="003399"/>
        </a:dk2>
        <a:lt2>
          <a:srgbClr val="FFE38A"/>
        </a:lt2>
        <a:accent1>
          <a:srgbClr val="FFD049"/>
        </a:accent1>
        <a:accent2>
          <a:srgbClr val="F89844"/>
        </a:accent2>
        <a:accent3>
          <a:srgbClr val="AAADCA"/>
        </a:accent3>
        <a:accent4>
          <a:srgbClr val="DADADA"/>
        </a:accent4>
        <a:accent5>
          <a:srgbClr val="FFE4B1"/>
        </a:accent5>
        <a:accent6>
          <a:srgbClr val="E1893D"/>
        </a:accent6>
        <a:hlink>
          <a:srgbClr val="F26521"/>
        </a:hlink>
        <a:folHlink>
          <a:srgbClr val="B52516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1_PowerPitch">
  <a:themeElements>
    <a:clrScheme name="Apellis">
      <a:dk1>
        <a:srgbClr val="000000"/>
      </a:dk1>
      <a:lt1>
        <a:srgbClr val="FFFFFF"/>
      </a:lt1>
      <a:dk2>
        <a:srgbClr val="4A4A4A"/>
      </a:dk2>
      <a:lt2>
        <a:srgbClr val="EBEBEB"/>
      </a:lt2>
      <a:accent1>
        <a:srgbClr val="F16527"/>
      </a:accent1>
      <a:accent2>
        <a:srgbClr val="6F6F6F"/>
      </a:accent2>
      <a:accent3>
        <a:srgbClr val="086BB0"/>
      </a:accent3>
      <a:accent4>
        <a:srgbClr val="E7BF5F"/>
      </a:accent4>
      <a:accent5>
        <a:srgbClr val="E9A039"/>
      </a:accent5>
      <a:accent6>
        <a:srgbClr val="CF7133"/>
      </a:accent6>
      <a:hlink>
        <a:srgbClr val="F28943"/>
      </a:hlink>
      <a:folHlink>
        <a:srgbClr val="F1B7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dirty="0" smtClean="0">
            <a:solidFill>
              <a:srgbClr val="4A4A4A"/>
            </a:solidFill>
          </a:defRPr>
        </a:defPPr>
      </a:lstStyle>
    </a:txDef>
  </a:objectDefaults>
  <a:extraClrSchemeLst>
    <a:extraClrScheme>
      <a:clrScheme name="10_PowerPitch 1">
        <a:dk1>
          <a:srgbClr val="000000"/>
        </a:dk1>
        <a:lt1>
          <a:srgbClr val="FFFFFF"/>
        </a:lt1>
        <a:dk2>
          <a:srgbClr val="D5EAFF"/>
        </a:dk2>
        <a:lt2>
          <a:srgbClr val="B2B2B2"/>
        </a:lt2>
        <a:accent1>
          <a:srgbClr val="0066CC"/>
        </a:accent1>
        <a:accent2>
          <a:srgbClr val="FFCC00"/>
        </a:accent2>
        <a:accent3>
          <a:srgbClr val="FFFFFF"/>
        </a:accent3>
        <a:accent4>
          <a:srgbClr val="000000"/>
        </a:accent4>
        <a:accent5>
          <a:srgbClr val="AAB8E2"/>
        </a:accent5>
        <a:accent6>
          <a:srgbClr val="E7B900"/>
        </a:accent6>
        <a:hlink>
          <a:srgbClr val="DF103F"/>
        </a:hlink>
        <a:folHlink>
          <a:srgbClr val="00336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Option 2">
  <a:themeElements>
    <a:clrScheme name="Custom 7">
      <a:dk1>
        <a:srgbClr val="000000"/>
      </a:dk1>
      <a:lt1>
        <a:srgbClr val="FFFFFF"/>
      </a:lt1>
      <a:dk2>
        <a:srgbClr val="968C83"/>
      </a:dk2>
      <a:lt2>
        <a:srgbClr val="F7F6F3"/>
      </a:lt2>
      <a:accent1>
        <a:srgbClr val="005D83"/>
      </a:accent1>
      <a:accent2>
        <a:srgbClr val="AC0B3D"/>
      </a:accent2>
      <a:accent3>
        <a:srgbClr val="ABC380"/>
      </a:accent3>
      <a:accent4>
        <a:srgbClr val="FF9E6D"/>
      </a:accent4>
      <a:accent5>
        <a:srgbClr val="6099B0"/>
      </a:accent5>
      <a:accent6>
        <a:srgbClr val="D7D2C5"/>
      </a:accent6>
      <a:hlink>
        <a:srgbClr val="586D33"/>
      </a:hlink>
      <a:folHlink>
        <a:srgbClr val="43748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chemeClr val="accent1"/>
            </a:gs>
            <a:gs pos="100000">
              <a:schemeClr val="accent2"/>
            </a:gs>
          </a:gsLst>
          <a:lin ang="0" scaled="1"/>
        </a:gra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600" spc="50" baseline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pellis_Corp_PPT_Template-v4" id="{2F4DD005-2FDF-3C43-8FD8-AD8CCCA94E55}" vid="{D0E9E283-D2B1-8942-B82A-C74EA3EBE435}"/>
    </a:ext>
  </a:extLst>
</a:theme>
</file>

<file path=ppt/theme/theme7.xml><?xml version="1.0" encoding="utf-8"?>
<a:theme xmlns:a="http://schemas.openxmlformats.org/drawingml/2006/main" name="1_Option 2">
  <a:themeElements>
    <a:clrScheme name="Custom 38">
      <a:dk1>
        <a:srgbClr val="333333"/>
      </a:dk1>
      <a:lt1>
        <a:srgbClr val="FFFFFF"/>
      </a:lt1>
      <a:dk2>
        <a:srgbClr val="44546A"/>
      </a:dk2>
      <a:lt2>
        <a:srgbClr val="E7E6E6"/>
      </a:lt2>
      <a:accent1>
        <a:srgbClr val="FC3B6E"/>
      </a:accent1>
      <a:accent2>
        <a:srgbClr val="5E6C85"/>
      </a:accent2>
      <a:accent3>
        <a:srgbClr val="A5CFD3"/>
      </a:accent3>
      <a:accent4>
        <a:srgbClr val="594986"/>
      </a:accent4>
      <a:accent5>
        <a:srgbClr val="FFFFFF"/>
      </a:accent5>
      <a:accent6>
        <a:srgbClr val="FC3B6E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9_Office Theme">
  <a:themeElements>
    <a:clrScheme name="Custom 4">
      <a:dk1>
        <a:srgbClr val="484F54"/>
      </a:dk1>
      <a:lt1>
        <a:srgbClr val="FFFFFF"/>
      </a:lt1>
      <a:dk2>
        <a:srgbClr val="494F55"/>
      </a:dk2>
      <a:lt2>
        <a:srgbClr val="E7E6E6"/>
      </a:lt2>
      <a:accent1>
        <a:srgbClr val="FF681D"/>
      </a:accent1>
      <a:accent2>
        <a:srgbClr val="AC0B3C"/>
      </a:accent2>
      <a:accent3>
        <a:srgbClr val="D7D2C5"/>
      </a:accent3>
      <a:accent4>
        <a:srgbClr val="968C83"/>
      </a:accent4>
      <a:accent5>
        <a:srgbClr val="FF9E6D"/>
      </a:accent5>
      <a:accent6>
        <a:srgbClr val="494F55"/>
      </a:accent6>
      <a:hlink>
        <a:srgbClr val="ABC380"/>
      </a:hlink>
      <a:folHlink>
        <a:srgbClr val="6099B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gradFill>
          <a:gsLst>
            <a:gs pos="0">
              <a:schemeClr val="accent1"/>
            </a:gs>
            <a:gs pos="100000">
              <a:schemeClr val="accent2"/>
            </a:gs>
          </a:gsLst>
          <a:lin ang="0" scaled="1"/>
        </a:gradFill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sz="1600" spc="50" baseline="0" dirty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pellis_Corp_PPT_Template_2019-12-20" id="{4AAC9126-7395-A343-A8F5-08C0243B85AC}" vid="{BB62A437-A430-3E48-B83E-EB9784ADF784}"/>
    </a:ext>
  </a:extLst>
</a:theme>
</file>

<file path=ppt/theme/theme9.xml><?xml version="1.0" encoding="utf-8"?>
<a:theme xmlns:a="http://schemas.openxmlformats.org/drawingml/2006/main" name="Standarddesign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1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1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en-US" sz="2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558</TotalTime>
  <Words>45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6" baseType="lpstr">
      <vt:lpstr>Arial</vt:lpstr>
      <vt:lpstr>Arial Black</vt:lpstr>
      <vt:lpstr>Calibri</vt:lpstr>
      <vt:lpstr>Calibri Light</vt:lpstr>
      <vt:lpstr>System Font Regular</vt:lpstr>
      <vt:lpstr>Wingdings</vt:lpstr>
      <vt:lpstr>5_Option 2</vt:lpstr>
      <vt:lpstr>8_Default Design</vt:lpstr>
      <vt:lpstr>9_Default Design</vt:lpstr>
      <vt:lpstr>3_Default Design</vt:lpstr>
      <vt:lpstr>11_PowerPitch</vt:lpstr>
      <vt:lpstr>2_Option 2</vt:lpstr>
      <vt:lpstr>1_Option 2</vt:lpstr>
      <vt:lpstr>9_Office Theme</vt:lpstr>
      <vt:lpstr>Standarddesign</vt:lpstr>
      <vt:lpstr>4_Office Theme</vt:lpstr>
      <vt:lpstr>3_Office Theme</vt:lpstr>
      <vt:lpstr>Option 2</vt:lpstr>
      <vt:lpstr>3_Option 2</vt:lpstr>
      <vt:lpstr>1_Theme 2 dark blue REGN</vt:lpstr>
      <vt:lpstr>4_Option 2</vt:lpstr>
      <vt:lpstr>6_Option 2</vt:lpstr>
      <vt:lpstr>7_Option 2</vt:lpstr>
      <vt:lpstr>4_Default Design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Peter Hillmen</dc:creator>
  <cp:lastModifiedBy>ARNOLD, Louise (LEEDS TEACHING HOSPITALS NHS TRUST)</cp:lastModifiedBy>
  <cp:revision>190</cp:revision>
  <dcterms:created xsi:type="dcterms:W3CDTF">2022-10-10T18:12:40Z</dcterms:created>
  <dcterms:modified xsi:type="dcterms:W3CDTF">2024-02-02T16:39:26Z</dcterms:modified>
</cp:coreProperties>
</file>